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mp4" ContentType="video/mp4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25"/>
  </p:notesMasterIdLst>
  <p:sldIdLst>
    <p:sldId id="301" r:id="rId2"/>
    <p:sldId id="349" r:id="rId3"/>
    <p:sldId id="350" r:id="rId4"/>
    <p:sldId id="351" r:id="rId5"/>
    <p:sldId id="352" r:id="rId6"/>
    <p:sldId id="270" r:id="rId7"/>
    <p:sldId id="286" r:id="rId8"/>
    <p:sldId id="305" r:id="rId9"/>
    <p:sldId id="302" r:id="rId10"/>
    <p:sldId id="303" r:id="rId11"/>
    <p:sldId id="306" r:id="rId12"/>
    <p:sldId id="279" r:id="rId13"/>
    <p:sldId id="272" r:id="rId14"/>
    <p:sldId id="262" r:id="rId15"/>
    <p:sldId id="292" r:id="rId16"/>
    <p:sldId id="293" r:id="rId17"/>
    <p:sldId id="294" r:id="rId18"/>
    <p:sldId id="295" r:id="rId19"/>
    <p:sldId id="296" r:id="rId20"/>
    <p:sldId id="297" r:id="rId21"/>
    <p:sldId id="298" r:id="rId22"/>
    <p:sldId id="299" r:id="rId23"/>
    <p:sldId id="276" r:id="rId24"/>
  </p:sldIdLst>
  <p:sldSz cx="12192000" cy="6858000"/>
  <p:notesSz cx="6858000" cy="9144000"/>
  <p:embeddedFontLst>
    <p:embeddedFont>
      <p:font typeface="Euclid Flex RTL" panose="020B0500030000000000" pitchFamily="34" charset="0"/>
      <p:regular r:id="rId26"/>
    </p:embeddedFont>
    <p:embeddedFont>
      <p:font typeface="Euclid Flex RTL Bold" panose="020B0800030000000000" pitchFamily="34" charset="0"/>
      <p:bold r:id="rId27"/>
    </p:embeddedFont>
    <p:embeddedFont>
      <p:font typeface="Calibri Light" panose="020F0302020204030204" pitchFamily="34" charset="0"/>
      <p:regular r:id="rId28"/>
      <p:italic r:id="rId29"/>
    </p:embeddedFont>
    <p:embeddedFont>
      <p:font typeface="Euclid Flex RTL Medium" panose="020B0600030000000000" pitchFamily="34" charset="0"/>
      <p:regular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</p:embeddedFont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e RTL" id="{97245B14-D1B1-0C49-85B6-75DA4EDE0BEA}">
          <p14:sldIdLst/>
        </p14:section>
        <p14:section name="Customer Care" id="{3B8789EC-A00A-3D42-B429-40EE0CBEDB07}">
          <p14:sldIdLst/>
        </p14:section>
        <p14:section name="Merken" id="{D3EF0C9F-E677-4C41-B996-B993C5C0438B}">
          <p14:sldIdLst>
            <p14:sldId id="301"/>
            <p14:sldId id="349"/>
            <p14:sldId id="350"/>
            <p14:sldId id="351"/>
            <p14:sldId id="352"/>
          </p14:sldIdLst>
        </p14:section>
        <p14:section name="Videoland" id="{4B09451A-D0BA-D544-A346-66D50B4AEA68}">
          <p14:sldIdLst>
            <p14:sldId id="270"/>
            <p14:sldId id="286"/>
            <p14:sldId id="305"/>
            <p14:sldId id="302"/>
            <p14:sldId id="303"/>
            <p14:sldId id="306"/>
            <p14:sldId id="279"/>
            <p14:sldId id="272"/>
          </p14:sldIdLst>
        </p14:section>
        <p14:section name="Chatbot" id="{187DF28D-A949-AD44-9F56-2511DAB76CC3}">
          <p14:sldIdLst>
            <p14:sldId id="262"/>
            <p14:sldId id="292"/>
            <p14:sldId id="293"/>
            <p14:sldId id="294"/>
            <p14:sldId id="295"/>
            <p14:sldId id="296"/>
            <p14:sldId id="297"/>
            <p14:sldId id="298"/>
            <p14:sldId id="299"/>
          </p14:sldIdLst>
        </p14:section>
        <p14:section name="Vragen" id="{DD9810F2-FA00-8546-B446-D9EF770137ED}">
          <p14:sldIdLst>
            <p14:sldId id="2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001"/>
    <a:srgbClr val="EE7D31"/>
    <a:srgbClr val="5B9BD6"/>
    <a:srgbClr val="A5A5A5"/>
    <a:srgbClr val="4A90E2"/>
    <a:srgbClr val="FFD700"/>
    <a:srgbClr val="E01775"/>
    <a:srgbClr val="F81600"/>
    <a:srgbClr val="172D4A"/>
    <a:srgbClr val="1D2B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187"/>
    <p:restoredTop sz="95336"/>
  </p:normalViewPr>
  <p:slideViewPr>
    <p:cSldViewPr snapToGrid="0" snapToObjects="1">
      <p:cViewPr varScale="1">
        <p:scale>
          <a:sx n="72" d="100"/>
          <a:sy n="72" d="100"/>
        </p:scale>
        <p:origin x="804" y="66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1.fntdata"/><Relationship Id="rId39" Type="http://schemas.microsoft.com/office/2016/11/relationships/changesInfo" Target="changesInfos/changesInfo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9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33" Type="http://schemas.openxmlformats.org/officeDocument/2006/relationships/font" Target="fonts/font8.fntdata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7.fntdata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3.fntdata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6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gela Muradin" userId="80907f1d-bf3f-4407-b837-af4d6de39754" providerId="ADAL" clId="{265BDE2E-B334-44D1-B568-B3A3A0C5295B}"/>
    <pc:docChg chg="delSld modSection">
      <pc:chgData name="Angela Muradin" userId="80907f1d-bf3f-4407-b837-af4d6de39754" providerId="ADAL" clId="{265BDE2E-B334-44D1-B568-B3A3A0C5295B}" dt="2019-02-14T09:50:31.368" v="0" actId="2696"/>
      <pc:docMkLst>
        <pc:docMk/>
      </pc:docMkLst>
      <pc:sldChg chg="del">
        <pc:chgData name="Angela Muradin" userId="80907f1d-bf3f-4407-b837-af4d6de39754" providerId="ADAL" clId="{265BDE2E-B334-44D1-B568-B3A3A0C5295B}" dt="2019-02-14T09:50:31.368" v="0" actId="2696"/>
        <pc:sldMkLst>
          <pc:docMk/>
          <pc:sldMk cId="3804644830" sldId="354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0956071539860897E-2"/>
          <c:y val="1.6892051424678839E-2"/>
          <c:w val="0.91904392846013916"/>
          <c:h val="0.77718717012914773"/>
        </c:manualLayout>
      </c:layout>
      <c:lineChart>
        <c:grouping val="standard"/>
        <c:varyColors val="0"/>
        <c:ser>
          <c:idx val="0"/>
          <c:order val="0"/>
          <c:tx>
            <c:strRef>
              <c:f>'Maand Result. CC'!$A$9:$B$9</c:f>
              <c:strCache>
                <c:ptCount val="2"/>
                <c:pt idx="0">
                  <c:v>% Calls tov Totaal aanbod</c:v>
                </c:pt>
                <c:pt idx="1">
                  <c:v>&lt;30</c:v>
                </c:pt>
              </c:strCache>
            </c:strRef>
          </c:tx>
          <c:spPr>
            <a:ln w="34925" cap="rnd">
              <a:solidFill>
                <a:schemeClr val="accent1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val>
            <c:numRef>
              <c:f>'Maand Result. CC'!$C$9:$R$9</c:f>
              <c:numCache>
                <c:formatCode>0%</c:formatCode>
                <c:ptCount val="12"/>
                <c:pt idx="0">
                  <c:v>0.51088888888888884</c:v>
                </c:pt>
                <c:pt idx="1">
                  <c:v>0.46390411595280129</c:v>
                </c:pt>
                <c:pt idx="2">
                  <c:v>0.4371337804447582</c:v>
                </c:pt>
                <c:pt idx="3">
                  <c:v>0.39952304131303923</c:v>
                </c:pt>
                <c:pt idx="4">
                  <c:v>0.369224174882126</c:v>
                </c:pt>
                <c:pt idx="5">
                  <c:v>0.37071526508226693</c:v>
                </c:pt>
                <c:pt idx="6">
                  <c:v>0.33331391623463624</c:v>
                </c:pt>
                <c:pt idx="7">
                  <c:v>0.33951137320977254</c:v>
                </c:pt>
                <c:pt idx="8">
                  <c:v>0.34181713958154197</c:v>
                </c:pt>
                <c:pt idx="9">
                  <c:v>0.41378976419890573</c:v>
                </c:pt>
                <c:pt idx="10">
                  <c:v>0.41150325414043071</c:v>
                </c:pt>
                <c:pt idx="11">
                  <c:v>0.341890634408013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97-4A38-80CB-CBDFEB40D0D5}"/>
            </c:ext>
          </c:extLst>
        </c:ser>
        <c:ser>
          <c:idx val="1"/>
          <c:order val="1"/>
          <c:tx>
            <c:strRef>
              <c:f>'Maand Result. CC'!$A$10:$B$10</c:f>
              <c:strCache>
                <c:ptCount val="2"/>
                <c:pt idx="0">
                  <c:v>% E-mail  tov Totaal aanbod</c:v>
                </c:pt>
                <c:pt idx="1">
                  <c:v>&lt;20</c:v>
                </c:pt>
              </c:strCache>
            </c:strRef>
          </c:tx>
          <c:spPr>
            <a:ln w="34925" cap="rnd">
              <a:solidFill>
                <a:schemeClr val="accent2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val>
            <c:numRef>
              <c:f>'Maand Result. CC'!$C$10:$R$10</c:f>
              <c:numCache>
                <c:formatCode>0%</c:formatCode>
                <c:ptCount val="12"/>
                <c:pt idx="0">
                  <c:v>0.17592592592592593</c:v>
                </c:pt>
                <c:pt idx="1">
                  <c:v>0.18842330205333085</c:v>
                </c:pt>
                <c:pt idx="2">
                  <c:v>0.20374161666078361</c:v>
                </c:pt>
                <c:pt idx="3">
                  <c:v>0.18902995019990179</c:v>
                </c:pt>
                <c:pt idx="4">
                  <c:v>0.16510930132876125</c:v>
                </c:pt>
                <c:pt idx="5">
                  <c:v>0.12899908592321754</c:v>
                </c:pt>
                <c:pt idx="6">
                  <c:v>0.18285081843071008</c:v>
                </c:pt>
                <c:pt idx="7">
                  <c:v>0.24240381915192361</c:v>
                </c:pt>
                <c:pt idx="8">
                  <c:v>0.12622527944969905</c:v>
                </c:pt>
                <c:pt idx="9">
                  <c:v>0.141625913910812</c:v>
                </c:pt>
                <c:pt idx="10">
                  <c:v>0.19567172866289223</c:v>
                </c:pt>
                <c:pt idx="11">
                  <c:v>0.1568777710876347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697-4A38-80CB-CBDFEB40D0D5}"/>
            </c:ext>
          </c:extLst>
        </c:ser>
        <c:ser>
          <c:idx val="2"/>
          <c:order val="2"/>
          <c:tx>
            <c:strRef>
              <c:f>'Maand Result. CC'!$A$11:$B$11</c:f>
              <c:strCache>
                <c:ptCount val="2"/>
                <c:pt idx="0">
                  <c:v>% Social  tov Totaal aanbod</c:v>
                </c:pt>
                <c:pt idx="1">
                  <c:v>&gt;40</c:v>
                </c:pt>
              </c:strCache>
            </c:strRef>
          </c:tx>
          <c:spPr>
            <a:ln w="34925" cap="rnd">
              <a:solidFill>
                <a:schemeClr val="accent3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val>
            <c:numRef>
              <c:f>'Maand Result. CC'!$C$11:$R$11</c:f>
              <c:numCache>
                <c:formatCode>0%</c:formatCode>
                <c:ptCount val="12"/>
                <c:pt idx="0">
                  <c:v>0.31318518518518518</c:v>
                </c:pt>
                <c:pt idx="1">
                  <c:v>0.34767258199386786</c:v>
                </c:pt>
                <c:pt idx="2">
                  <c:v>0.35912460289445819</c:v>
                </c:pt>
                <c:pt idx="3">
                  <c:v>0.41144700848705901</c:v>
                </c:pt>
                <c:pt idx="4">
                  <c:v>0.46566652378911272</c:v>
                </c:pt>
                <c:pt idx="5">
                  <c:v>0.50028564899451555</c:v>
                </c:pt>
                <c:pt idx="6">
                  <c:v>0.44742820527756744</c:v>
                </c:pt>
                <c:pt idx="7">
                  <c:v>0.36192080876158383</c:v>
                </c:pt>
                <c:pt idx="8">
                  <c:v>0.41238177128116937</c:v>
                </c:pt>
                <c:pt idx="9">
                  <c:v>0.38623928727061446</c:v>
                </c:pt>
                <c:pt idx="10">
                  <c:v>0.34557383988570822</c:v>
                </c:pt>
                <c:pt idx="11">
                  <c:v>0.456182604411845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0697-4A38-80CB-CBDFEB40D0D5}"/>
            </c:ext>
          </c:extLst>
        </c:ser>
        <c:ser>
          <c:idx val="3"/>
          <c:order val="3"/>
          <c:tx>
            <c:strRef>
              <c:f>'Maand Result. CC'!$A$12:$B$12</c:f>
              <c:strCache>
                <c:ptCount val="2"/>
                <c:pt idx="0">
                  <c:v>% Chat tov totaalaanbod</c:v>
                </c:pt>
                <c:pt idx="1">
                  <c:v>&gt;20</c:v>
                </c:pt>
              </c:strCache>
            </c:strRef>
          </c:tx>
          <c:spPr>
            <a:ln w="34925" cap="rnd">
              <a:solidFill>
                <a:schemeClr val="accent4"/>
              </a:solidFill>
              <a:round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marker>
            <c:symbol val="none"/>
          </c:marker>
          <c:val>
            <c:numRef>
              <c:f>'Maand Result. CC'!$C$12:$R$12</c:f>
              <c:numCache>
                <c:formatCode>General</c:formatCode>
                <c:ptCount val="12"/>
                <c:pt idx="6" formatCode="0%">
                  <c:v>3.6407060057086271E-2</c:v>
                </c:pt>
                <c:pt idx="7" formatCode="0%">
                  <c:v>5.6163998876720023E-2</c:v>
                </c:pt>
                <c:pt idx="8" formatCode="0%">
                  <c:v>0.05</c:v>
                </c:pt>
                <c:pt idx="9" formatCode="0%">
                  <c:v>5.8345034619667842E-2</c:v>
                </c:pt>
                <c:pt idx="10" formatCode="0%">
                  <c:v>4.7251177310968832E-2</c:v>
                </c:pt>
                <c:pt idx="11" formatCode="0%">
                  <c:v>4.50489900925064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697-4A38-80CB-CBDFEB40D0D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05465840"/>
        <c:axId val="505466496"/>
      </c:lineChart>
      <c:catAx>
        <c:axId val="5054658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lt1">
                <a:lumMod val="95000"/>
                <a:alpha val="1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05466496"/>
        <c:crosses val="autoZero"/>
        <c:auto val="1"/>
        <c:lblAlgn val="ctr"/>
        <c:lblOffset val="100"/>
        <c:noMultiLvlLbl val="0"/>
      </c:catAx>
      <c:valAx>
        <c:axId val="50546649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lt1">
                  <a:lumMod val="95000"/>
                  <a:alpha val="10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>
                    <a:lumMod val="8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505465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33">
  <cs:axisTitle>
    <cs:lnRef idx="0"/>
    <cs:fillRef idx="0"/>
    <cs:effectRef idx="0"/>
    <cs:fontRef idx="minor">
      <a:schemeClr val="lt1">
        <a:lumMod val="85000"/>
      </a:schemeClr>
    </cs:fontRef>
    <cs:defRPr sz="900" b="1" kern="1200" cap="all"/>
  </cs:axisTitle>
  <cs:categoryAxis>
    <cs:lnRef idx="0"/>
    <cs:fillRef idx="0"/>
    <cs:effectRef idx="0"/>
    <cs:fontRef idx="minor">
      <a:schemeClr val="lt1">
        <a:lumMod val="85000"/>
      </a:schemeClr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  <cs:defRPr sz="900" kern="120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dk1">
              <a:lumMod val="65000"/>
              <a:lumOff val="35000"/>
            </a:schemeClr>
          </a:gs>
          <a:gs pos="100000">
            <a:schemeClr val="dk1">
              <a:lumMod val="85000"/>
              <a:lumOff val="15000"/>
            </a:schemeClr>
          </a:gs>
        </a:gsLst>
        <a:path path="circle">
          <a:fillToRect l="50000" t="50000" r="50000" b="50000"/>
        </a:path>
        <a:tileRect/>
      </a:gradFill>
    </cs:spPr>
    <cs:defRPr sz="1000" kern="1200"/>
  </cs:chartArea>
  <cs:dataLabel>
    <cs:lnRef idx="0"/>
    <cs:fillRef idx="0"/>
    <cs:effectRef idx="0"/>
    <cs:fontRef idx="minor">
      <a:schemeClr val="lt1">
        <a:lumMod val="8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tx1"/>
    </cs:fontRef>
  </cs:dataPoint>
  <cs:dataPoint3D>
    <cs:lnRef idx="0"/>
    <cs:fillRef idx="3">
      <cs:styleClr val="auto"/>
    </cs:fillRef>
    <cs:effectRef idx="3"/>
    <cs:fontRef idx="minor">
      <a:schemeClr val="tx1"/>
    </cs:fontRef>
  </cs:dataPoint3D>
  <cs:dataPointLine>
    <cs:lnRef idx="0">
      <cs:styleClr val="auto"/>
    </cs:lnRef>
    <cs:fillRef idx="3"/>
    <cs:effectRef idx="3"/>
    <cs:fontRef idx="minor">
      <a:schemeClr val="tx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tx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lt1">
        <a:lumMod val="85000"/>
      </a:schemeClr>
    </cs:fontRef>
    <cs:spPr>
      <a:ln w="9525">
        <a:solidFill>
          <a:schemeClr val="lt1">
            <a:lumMod val="95000"/>
            <a:alpha val="54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>
        <a:solidFill>
          <a:schemeClr val="lt1">
            <a:lumMod val="95000"/>
            <a:alpha val="54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lt1">
            <a:lumMod val="95000"/>
            <a:alpha val="10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>
        <a:solidFill>
          <a:schemeClr val="lt1">
            <a:lumMod val="95000"/>
            <a:alpha val="5000"/>
          </a:schemeClr>
        </a:solidFill>
      </a:ln>
    </cs:spPr>
  </cs:gridlineMinor>
  <cs:hiLo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1"/>
    </cs:fontRef>
    <cs:spPr>
      <a:ln w="9525">
        <a:solidFill>
          <a:schemeClr val="lt1">
            <a:lumMod val="95000"/>
            <a:alpha val="54000"/>
          </a:schemeClr>
        </a:solidFill>
      </a:ln>
    </cs:spPr>
  </cs:leaderLine>
  <cs:legend>
    <cs:lnRef idx="0"/>
    <cs:fillRef idx="0"/>
    <cs:effectRef idx="0"/>
    <cs:fontRef idx="minor">
      <a:schemeClr val="lt1">
        <a:lumMod val="85000"/>
      </a:schemeClr>
    </cs:fontRef>
    <cs:defRPr sz="900" kern="1200"/>
  </cs:legend>
  <cs:plotArea>
    <cs:lnRef idx="0"/>
    <cs:fillRef idx="0"/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lt1">
        <a:lumMod val="85000"/>
      </a:schemeClr>
    </cs:fontRef>
    <cs:spPr>
      <a:ln w="12700" cap="flat" cmpd="sng" algn="ctr">
        <a:solidFill>
          <a:schemeClr val="lt1">
            <a:lumMod val="95000"/>
            <a:alpha val="54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lt1"/>
    </cs:fontRef>
    <cs:spPr>
      <a:ln w="9525" cap="flat" cmpd="sng" algn="ctr">
        <a:solidFill>
          <a:schemeClr val="lt1">
            <a:lumMod val="95000"/>
            <a:alpha val="54000"/>
          </a:schemeClr>
        </a:solidFill>
        <a:round/>
      </a:ln>
    </cs:spPr>
  </cs:seriesLine>
  <cs:title>
    <cs:lnRef idx="0"/>
    <cs:fillRef idx="0"/>
    <cs:effectRef idx="0"/>
    <cs:fontRef idx="minor">
      <a:schemeClr val="lt1">
        <a:lumMod val="95000"/>
      </a:schemeClr>
    </cs:fontRef>
    <cs:defRPr sz="1600" b="1" kern="1200" spc="100" baseline="0">
      <a:effectLst>
        <a:outerShdw blurRad="50800" dist="38100" dir="5400000" algn="t" rotWithShape="0">
          <a:prstClr val="black">
            <a:alpha val="40000"/>
          </a:prstClr>
        </a:outerShdw>
      </a:effectLst>
    </cs:defRPr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lt1">
        <a:lumMod val="8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>
        <a:solidFill>
          <a:schemeClr val="lt1">
            <a:lumMod val="95000"/>
            <a:alpha val="54000"/>
          </a:schemeClr>
        </a:solidFill>
      </a:ln>
    </cs:spPr>
  </cs:upBar>
  <cs:valueAxis>
    <cs:lnRef idx="0"/>
    <cs:fillRef idx="0"/>
    <cs:effectRef idx="0"/>
    <cs:fontRef idx="minor">
      <a:schemeClr val="lt1">
        <a:lumMod val="85000"/>
      </a:schemeClr>
    </cs:fontRef>
    <cs:defRPr sz="9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C04EA6-9353-1D45-B930-59350FE2DBD5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1817A0-6858-C04B-9DE0-9A67B532C3BC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9340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195728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3843461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1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4618790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56179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393928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81442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0114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38603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7070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386959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8577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536E2-74B5-45E5-8121-82F992B9453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uclid Flex RT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uclid Flex RT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36389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5A2D548-2418-41E4-B1C8-959181E6946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6354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536E2-74B5-45E5-8121-82F992B9453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uclid Flex RT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uclid Flex RT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41914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-&gt; </a:t>
            </a:r>
            <a:r>
              <a:rPr lang="nl-NL" dirty="0" err="1"/>
              <a:t>Netflix</a:t>
            </a:r>
            <a:r>
              <a:rPr lang="nl-NL" dirty="0"/>
              <a:t> had </a:t>
            </a:r>
            <a:r>
              <a:rPr lang="nl-NL" dirty="0" err="1"/>
              <a:t>started</a:t>
            </a:r>
            <a:r>
              <a:rPr lang="nl-NL" dirty="0"/>
              <a:t> in US, UK, </a:t>
            </a:r>
            <a:r>
              <a:rPr lang="nl-NL" dirty="0" err="1"/>
              <a:t>Scandinavia</a:t>
            </a:r>
            <a:endParaRPr lang="nl-NL" dirty="0"/>
          </a:p>
          <a:p>
            <a:r>
              <a:rPr lang="nl-NL" dirty="0"/>
              <a:t>-&gt; we </a:t>
            </a:r>
            <a:r>
              <a:rPr lang="nl-NL" dirty="0" err="1"/>
              <a:t>wanted</a:t>
            </a:r>
            <a:r>
              <a:rPr lang="nl-NL" dirty="0"/>
              <a:t>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launch</a:t>
            </a:r>
            <a:r>
              <a:rPr lang="nl-NL" dirty="0"/>
              <a:t> SVOD in NL </a:t>
            </a:r>
            <a:r>
              <a:rPr lang="nl-NL" dirty="0" err="1"/>
              <a:t>before</a:t>
            </a:r>
            <a:r>
              <a:rPr lang="nl-NL" dirty="0"/>
              <a:t> NFX</a:t>
            </a:r>
          </a:p>
          <a:p>
            <a:r>
              <a:rPr lang="nl-NL" dirty="0"/>
              <a:t>…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jumped</a:t>
            </a:r>
            <a:r>
              <a:rPr lang="nl-NL" dirty="0"/>
              <a:t> </a:t>
            </a:r>
            <a:r>
              <a:rPr lang="nl-NL" dirty="0" err="1"/>
              <a:t>into</a:t>
            </a:r>
            <a:r>
              <a:rPr lang="nl-NL" dirty="0"/>
              <a:t> </a:t>
            </a:r>
            <a:r>
              <a:rPr lang="nl-NL" dirty="0" err="1"/>
              <a:t>this</a:t>
            </a:r>
            <a:r>
              <a:rPr lang="nl-NL" dirty="0"/>
              <a:t> adventure…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536E2-74B5-45E5-8121-82F992B9453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uclid Flex RT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uclid Flex RT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8983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C536E2-74B5-45E5-8121-82F992B94536}" type="slidenum">
              <a:rPr kumimoji="0" lang="nl-NL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Euclid Flex RT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l-NL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Euclid Flex RT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75098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03015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868339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007001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1817A0-6858-C04B-9DE0-9A67B532C3BC}" type="slidenum">
              <a:rPr lang="nl-NL" smtClean="0"/>
              <a:t>1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346975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04DEAE-3C37-FB45-87F4-C84E811BBC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9616C42-E41E-5D43-9644-23DCF0D663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B67471AC-5ADD-E54F-92B4-B3CB91BAD4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89473DA-8792-3F42-AA57-3B0B2C035B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C40A3915-E877-3A48-AB47-D541826BFE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12537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49EF54-E128-C047-B1EC-65181241E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463B304-8420-6546-A0F3-E963CD70941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A7B1231-E1DF-DC47-B0B0-B3773DDC7B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5445AC6-61A1-434A-A1A7-2E8762B831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78231C1-834A-CA41-BECF-2F3D5A5393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096489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9E855D92-D6D6-4F41-A9E7-C8A34300CFD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ECF4DB5C-1B0A-3549-BB69-F1B5991534A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E1FBC01-2130-0040-B70A-8A593F9E1B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9B75B89-932D-614E-8B13-B41D4B6DD9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663E943-D25A-4849-AA7F-C5BFBD74BD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452842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AC14840-1DC2-47E2-A588-087814028AB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0" y="2"/>
            <a:ext cx="8983579" cy="6095998"/>
          </a:xfrm>
          <a:custGeom>
            <a:avLst/>
            <a:gdLst>
              <a:gd name="connsiteX0" fmla="*/ 0 w 10033903"/>
              <a:gd name="connsiteY0" fmla="*/ 0 h 5016951"/>
              <a:gd name="connsiteX1" fmla="*/ 2673234 w 10033903"/>
              <a:gd name="connsiteY1" fmla="*/ 0 h 5016951"/>
              <a:gd name="connsiteX2" fmla="*/ 5016952 w 10033903"/>
              <a:gd name="connsiteY2" fmla="*/ 2343717 h 5016951"/>
              <a:gd name="connsiteX3" fmla="*/ 7360669 w 10033903"/>
              <a:gd name="connsiteY3" fmla="*/ 0 h 5016951"/>
              <a:gd name="connsiteX4" fmla="*/ 10033903 w 10033903"/>
              <a:gd name="connsiteY4" fmla="*/ 0 h 5016951"/>
              <a:gd name="connsiteX5" fmla="*/ 5016952 w 10033903"/>
              <a:gd name="connsiteY5" fmla="*/ 5016951 h 5016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33903" h="5016951">
                <a:moveTo>
                  <a:pt x="0" y="0"/>
                </a:moveTo>
                <a:lnTo>
                  <a:pt x="2673234" y="0"/>
                </a:lnTo>
                <a:lnTo>
                  <a:pt x="5016952" y="2343717"/>
                </a:lnTo>
                <a:lnTo>
                  <a:pt x="7360669" y="0"/>
                </a:lnTo>
                <a:lnTo>
                  <a:pt x="10033903" y="0"/>
                </a:lnTo>
                <a:lnTo>
                  <a:pt x="5016952" y="5016951"/>
                </a:lnTo>
                <a:close/>
              </a:path>
            </a:pathLst>
          </a:cu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cap="flat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88848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436302" y="1050717"/>
            <a:ext cx="2275383" cy="4907833"/>
          </a:xfrm>
          <a:custGeom>
            <a:avLst/>
            <a:gdLst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9255583 w 10303329"/>
              <a:gd name="connsiteY2" fmla="*/ 0 h 22223186"/>
              <a:gd name="connsiteX3" fmla="*/ 10303329 w 10303329"/>
              <a:gd name="connsiteY3" fmla="*/ 1047746 h 22223186"/>
              <a:gd name="connsiteX4" fmla="*/ 10303329 w 10303329"/>
              <a:gd name="connsiteY4" fmla="*/ 21175440 h 22223186"/>
              <a:gd name="connsiteX5" fmla="*/ 9255583 w 10303329"/>
              <a:gd name="connsiteY5" fmla="*/ 22223186 h 22223186"/>
              <a:gd name="connsiteX6" fmla="*/ 1047746 w 10303329"/>
              <a:gd name="connsiteY6" fmla="*/ 22223186 h 22223186"/>
              <a:gd name="connsiteX7" fmla="*/ 0 w 10303329"/>
              <a:gd name="connsiteY7" fmla="*/ 21175440 h 22223186"/>
              <a:gd name="connsiteX8" fmla="*/ 0 w 10303329"/>
              <a:gd name="connsiteY8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9255583 w 10303329"/>
              <a:gd name="connsiteY3" fmla="*/ 0 h 22223186"/>
              <a:gd name="connsiteX4" fmla="*/ 10303329 w 10303329"/>
              <a:gd name="connsiteY4" fmla="*/ 1047746 h 22223186"/>
              <a:gd name="connsiteX5" fmla="*/ 10303329 w 10303329"/>
              <a:gd name="connsiteY5" fmla="*/ 21175440 h 22223186"/>
              <a:gd name="connsiteX6" fmla="*/ 9255583 w 10303329"/>
              <a:gd name="connsiteY6" fmla="*/ 22223186 h 22223186"/>
              <a:gd name="connsiteX7" fmla="*/ 1047746 w 10303329"/>
              <a:gd name="connsiteY7" fmla="*/ 22223186 h 22223186"/>
              <a:gd name="connsiteX8" fmla="*/ 0 w 10303329"/>
              <a:gd name="connsiteY8" fmla="*/ 21175440 h 22223186"/>
              <a:gd name="connsiteX9" fmla="*/ 0 w 10303329"/>
              <a:gd name="connsiteY9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331528 w 10303329"/>
              <a:gd name="connsiteY3" fmla="*/ 8327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1496522 w 10303329"/>
              <a:gd name="connsiteY2" fmla="*/ 222417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464188 w 10303329"/>
              <a:gd name="connsiteY3" fmla="*/ 417726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147957 w 10303329"/>
              <a:gd name="connsiteY6" fmla="*/ 481693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756072 w 10303329"/>
              <a:gd name="connsiteY6" fmla="*/ 432707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66314 w 10303329"/>
              <a:gd name="connsiteY7" fmla="*/ 277586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22334 h 22297774"/>
              <a:gd name="connsiteX1" fmla="*/ 1047746 w 10303329"/>
              <a:gd name="connsiteY1" fmla="*/ 74588 h 22297774"/>
              <a:gd name="connsiteX2" fmla="*/ 2206735 w 10303329"/>
              <a:gd name="connsiteY2" fmla="*/ 92819 h 22297774"/>
              <a:gd name="connsiteX3" fmla="*/ 2382149 w 10303329"/>
              <a:gd name="connsiteY3" fmla="*/ 660990 h 22297774"/>
              <a:gd name="connsiteX4" fmla="*/ 2775858 w 10303329"/>
              <a:gd name="connsiteY4" fmla="*/ 907343 h 22297774"/>
              <a:gd name="connsiteX5" fmla="*/ 7331528 w 10303329"/>
              <a:gd name="connsiteY5" fmla="*/ 907345 h 22297774"/>
              <a:gd name="connsiteX6" fmla="*/ 7878536 w 10303329"/>
              <a:gd name="connsiteY6" fmla="*/ 654253 h 22297774"/>
              <a:gd name="connsiteX7" fmla="*/ 8058150 w 10303329"/>
              <a:gd name="connsiteY7" fmla="*/ 148066 h 22297774"/>
              <a:gd name="connsiteX8" fmla="*/ 9255583 w 10303329"/>
              <a:gd name="connsiteY8" fmla="*/ 74588 h 22297774"/>
              <a:gd name="connsiteX9" fmla="*/ 10303329 w 10303329"/>
              <a:gd name="connsiteY9" fmla="*/ 1122334 h 22297774"/>
              <a:gd name="connsiteX10" fmla="*/ 10303329 w 10303329"/>
              <a:gd name="connsiteY10" fmla="*/ 21250028 h 22297774"/>
              <a:gd name="connsiteX11" fmla="*/ 9255583 w 10303329"/>
              <a:gd name="connsiteY11" fmla="*/ 22297774 h 22297774"/>
              <a:gd name="connsiteX12" fmla="*/ 1047746 w 10303329"/>
              <a:gd name="connsiteY12" fmla="*/ 22297774 h 22297774"/>
              <a:gd name="connsiteX13" fmla="*/ 0 w 10303329"/>
              <a:gd name="connsiteY13" fmla="*/ 21250028 h 22297774"/>
              <a:gd name="connsiteX14" fmla="*/ 0 w 10303329"/>
              <a:gd name="connsiteY14" fmla="*/ 1122334 h 22297774"/>
              <a:gd name="connsiteX0" fmla="*/ 0 w 10303329"/>
              <a:gd name="connsiteY0" fmla="*/ 1114032 h 22289472"/>
              <a:gd name="connsiteX1" fmla="*/ 1047746 w 10303329"/>
              <a:gd name="connsiteY1" fmla="*/ 66286 h 22289472"/>
              <a:gd name="connsiteX2" fmla="*/ 2206735 w 10303329"/>
              <a:gd name="connsiteY2" fmla="*/ 84517 h 22289472"/>
              <a:gd name="connsiteX3" fmla="*/ 2382149 w 10303329"/>
              <a:gd name="connsiteY3" fmla="*/ 652688 h 22289472"/>
              <a:gd name="connsiteX4" fmla="*/ 2775858 w 10303329"/>
              <a:gd name="connsiteY4" fmla="*/ 899041 h 22289472"/>
              <a:gd name="connsiteX5" fmla="*/ 7331528 w 10303329"/>
              <a:gd name="connsiteY5" fmla="*/ 899043 h 22289472"/>
              <a:gd name="connsiteX6" fmla="*/ 7878536 w 10303329"/>
              <a:gd name="connsiteY6" fmla="*/ 645951 h 22289472"/>
              <a:gd name="connsiteX7" fmla="*/ 8058150 w 10303329"/>
              <a:gd name="connsiteY7" fmla="*/ 139764 h 22289472"/>
              <a:gd name="connsiteX8" fmla="*/ 9255583 w 10303329"/>
              <a:gd name="connsiteY8" fmla="*/ 66286 h 22289472"/>
              <a:gd name="connsiteX9" fmla="*/ 10303329 w 10303329"/>
              <a:gd name="connsiteY9" fmla="*/ 1114032 h 22289472"/>
              <a:gd name="connsiteX10" fmla="*/ 10303329 w 10303329"/>
              <a:gd name="connsiteY10" fmla="*/ 21241726 h 22289472"/>
              <a:gd name="connsiteX11" fmla="*/ 9255583 w 10303329"/>
              <a:gd name="connsiteY11" fmla="*/ 22289472 h 22289472"/>
              <a:gd name="connsiteX12" fmla="*/ 1047746 w 10303329"/>
              <a:gd name="connsiteY12" fmla="*/ 22289472 h 22289472"/>
              <a:gd name="connsiteX13" fmla="*/ 0 w 10303329"/>
              <a:gd name="connsiteY13" fmla="*/ 21241726 h 22289472"/>
              <a:gd name="connsiteX14" fmla="*/ 0 w 10303329"/>
              <a:gd name="connsiteY14" fmla="*/ 1114032 h 22289472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17329 w 10303329"/>
              <a:gd name="connsiteY7" fmla="*/ 204107 h 22223186"/>
              <a:gd name="connsiteX8" fmla="*/ 8058150 w 10303329"/>
              <a:gd name="connsiteY8" fmla="*/ 73478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058150 w 10303329"/>
              <a:gd name="connsiteY8" fmla="*/ 140991 h 22290699"/>
              <a:gd name="connsiteX9" fmla="*/ 8123464 w 10303329"/>
              <a:gd name="connsiteY9" fmla="*/ 108334 h 22290699"/>
              <a:gd name="connsiteX10" fmla="*/ 9255583 w 10303329"/>
              <a:gd name="connsiteY10" fmla="*/ 67513 h 22290699"/>
              <a:gd name="connsiteX11" fmla="*/ 10303329 w 10303329"/>
              <a:gd name="connsiteY11" fmla="*/ 1115259 h 22290699"/>
              <a:gd name="connsiteX12" fmla="*/ 10303329 w 10303329"/>
              <a:gd name="connsiteY12" fmla="*/ 21242953 h 22290699"/>
              <a:gd name="connsiteX13" fmla="*/ 9255583 w 10303329"/>
              <a:gd name="connsiteY13" fmla="*/ 22290699 h 22290699"/>
              <a:gd name="connsiteX14" fmla="*/ 1047746 w 10303329"/>
              <a:gd name="connsiteY14" fmla="*/ 22290699 h 22290699"/>
              <a:gd name="connsiteX15" fmla="*/ 0 w 10303329"/>
              <a:gd name="connsiteY15" fmla="*/ 21242953 h 22290699"/>
              <a:gd name="connsiteX16" fmla="*/ 0 w 10303329"/>
              <a:gd name="connsiteY16" fmla="*/ 1115259 h 22290699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123464 w 10303329"/>
              <a:gd name="connsiteY8" fmla="*/ 108334 h 22290699"/>
              <a:gd name="connsiteX9" fmla="*/ 9255583 w 10303329"/>
              <a:gd name="connsiteY9" fmla="*/ 67513 h 22290699"/>
              <a:gd name="connsiteX10" fmla="*/ 10303329 w 10303329"/>
              <a:gd name="connsiteY10" fmla="*/ 1115259 h 22290699"/>
              <a:gd name="connsiteX11" fmla="*/ 10303329 w 10303329"/>
              <a:gd name="connsiteY11" fmla="*/ 21242953 h 22290699"/>
              <a:gd name="connsiteX12" fmla="*/ 9255583 w 10303329"/>
              <a:gd name="connsiteY12" fmla="*/ 22290699 h 22290699"/>
              <a:gd name="connsiteX13" fmla="*/ 1047746 w 10303329"/>
              <a:gd name="connsiteY13" fmla="*/ 22290699 h 22290699"/>
              <a:gd name="connsiteX14" fmla="*/ 0 w 10303329"/>
              <a:gd name="connsiteY14" fmla="*/ 21242953 h 22290699"/>
              <a:gd name="connsiteX15" fmla="*/ 0 w 10303329"/>
              <a:gd name="connsiteY15" fmla="*/ 1115259 h 22290699"/>
              <a:gd name="connsiteX0" fmla="*/ 0 w 10303329"/>
              <a:gd name="connsiteY0" fmla="*/ 1048170 h 22223610"/>
              <a:gd name="connsiteX1" fmla="*/ 1047746 w 10303329"/>
              <a:gd name="connsiteY1" fmla="*/ 424 h 22223610"/>
              <a:gd name="connsiteX2" fmla="*/ 2206735 w 10303329"/>
              <a:gd name="connsiteY2" fmla="*/ 18655 h 22223610"/>
              <a:gd name="connsiteX3" fmla="*/ 2382149 w 10303329"/>
              <a:gd name="connsiteY3" fmla="*/ 586826 h 22223610"/>
              <a:gd name="connsiteX4" fmla="*/ 2775858 w 10303329"/>
              <a:gd name="connsiteY4" fmla="*/ 833179 h 22223610"/>
              <a:gd name="connsiteX5" fmla="*/ 7331528 w 10303329"/>
              <a:gd name="connsiteY5" fmla="*/ 833181 h 22223610"/>
              <a:gd name="connsiteX6" fmla="*/ 7894864 w 10303329"/>
              <a:gd name="connsiteY6" fmla="*/ 596417 h 22223610"/>
              <a:gd name="connsiteX7" fmla="*/ 8017329 w 10303329"/>
              <a:gd name="connsiteY7" fmla="*/ 204531 h 22223610"/>
              <a:gd name="connsiteX8" fmla="*/ 8123464 w 10303329"/>
              <a:gd name="connsiteY8" fmla="*/ 41245 h 22223610"/>
              <a:gd name="connsiteX9" fmla="*/ 9255583 w 10303329"/>
              <a:gd name="connsiteY9" fmla="*/ 424 h 22223610"/>
              <a:gd name="connsiteX10" fmla="*/ 10303329 w 10303329"/>
              <a:gd name="connsiteY10" fmla="*/ 1048170 h 22223610"/>
              <a:gd name="connsiteX11" fmla="*/ 10303329 w 10303329"/>
              <a:gd name="connsiteY11" fmla="*/ 21175864 h 22223610"/>
              <a:gd name="connsiteX12" fmla="*/ 9255583 w 10303329"/>
              <a:gd name="connsiteY12" fmla="*/ 22223610 h 22223610"/>
              <a:gd name="connsiteX13" fmla="*/ 1047746 w 10303329"/>
              <a:gd name="connsiteY13" fmla="*/ 22223610 h 22223610"/>
              <a:gd name="connsiteX14" fmla="*/ 0 w 10303329"/>
              <a:gd name="connsiteY14" fmla="*/ 21175864 h 22223610"/>
              <a:gd name="connsiteX15" fmla="*/ 0 w 10303329"/>
              <a:gd name="connsiteY15" fmla="*/ 1048170 h 22223610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303329" h="22223944">
                <a:moveTo>
                  <a:pt x="0" y="1048504"/>
                </a:moveTo>
                <a:cubicBezTo>
                  <a:pt x="0" y="469850"/>
                  <a:pt x="469092" y="758"/>
                  <a:pt x="1047746" y="758"/>
                </a:cubicBezTo>
                <a:lnTo>
                  <a:pt x="2206735" y="18989"/>
                </a:lnTo>
                <a:cubicBezTo>
                  <a:pt x="2341538" y="26227"/>
                  <a:pt x="2242035" y="356948"/>
                  <a:pt x="2382149" y="587160"/>
                </a:cubicBezTo>
                <a:cubicBezTo>
                  <a:pt x="2507943" y="745479"/>
                  <a:pt x="2650063" y="830316"/>
                  <a:pt x="2775858" y="833513"/>
                </a:cubicBezTo>
                <a:lnTo>
                  <a:pt x="7331528" y="833515"/>
                </a:lnTo>
                <a:cubicBezTo>
                  <a:pt x="7513864" y="838958"/>
                  <a:pt x="7737020" y="844400"/>
                  <a:pt x="7894864" y="596751"/>
                </a:cubicBezTo>
                <a:cubicBezTo>
                  <a:pt x="7984671" y="467483"/>
                  <a:pt x="8011886" y="387201"/>
                  <a:pt x="8017329" y="204865"/>
                </a:cubicBezTo>
                <a:cubicBezTo>
                  <a:pt x="7998279" y="128665"/>
                  <a:pt x="8031388" y="34775"/>
                  <a:pt x="8147957" y="25250"/>
                </a:cubicBezTo>
                <a:cubicBezTo>
                  <a:pt x="8347529" y="13004"/>
                  <a:pt x="8802465" y="-3778"/>
                  <a:pt x="9255583" y="758"/>
                </a:cubicBezTo>
                <a:cubicBezTo>
                  <a:pt x="9834237" y="758"/>
                  <a:pt x="10303329" y="469850"/>
                  <a:pt x="10303329" y="1048504"/>
                </a:cubicBezTo>
                <a:lnTo>
                  <a:pt x="10303329" y="21176198"/>
                </a:lnTo>
                <a:cubicBezTo>
                  <a:pt x="10303329" y="21754852"/>
                  <a:pt x="9834237" y="22223944"/>
                  <a:pt x="9255583" y="22223944"/>
                </a:cubicBezTo>
                <a:lnTo>
                  <a:pt x="1047746" y="22223944"/>
                </a:lnTo>
                <a:cubicBezTo>
                  <a:pt x="469092" y="22223944"/>
                  <a:pt x="0" y="21754852"/>
                  <a:pt x="0" y="21176198"/>
                </a:cubicBezTo>
                <a:lnTo>
                  <a:pt x="0" y="1048504"/>
                </a:lnTo>
                <a:close/>
              </a:path>
            </a:pathLst>
          </a:cu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53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6ACE2F-0373-DC4C-9039-489AC98CE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BCF80BF-B9AE-3443-8705-733BC08E4A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8C19CED-5E22-2C41-B62B-C571B29B84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4C72C54-E8FE-484A-B1C0-309B4D8F2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ABD86C6-FD47-1B47-A2EC-1CC3502360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854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B285C28-DD8C-4D4D-811B-3282CD4F09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332DD25C-C546-3841-BA6E-0746B1CD54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BD15E10-6F0E-164F-9727-E68CB85A1B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0816E364-73A5-4B4B-BEC8-115F42277F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95382FF-32BA-7C48-AF96-34D57E4055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533190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44AFBF-FB36-924C-99BE-5B437DEDB8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09E0944D-A675-3743-828E-9FD01ACA234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260A8F0-8551-6943-AF08-5B32D339070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62A7DBF6-D234-3540-B4B2-B341814F1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EBF1466-5101-BF45-B1EF-642A028DB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E0CD5D73-DDFA-8F41-975D-0409FE657F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52763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26EED3C-AC89-4D48-B85A-E41800518C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0C284004-7B92-0749-A6CB-155D79ACB2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4890BA99-FB22-8744-8DAF-1CD6E31E66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7F0C47DC-CAF1-724E-8A07-36C8159215E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1D4F2699-6E68-9E4A-B5FB-7BB957405E6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38F7493B-AF90-1342-9EE2-8EFD85FE47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2EC3535C-551C-E54B-9AA4-3829C3DDB2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23CB40DB-7CCB-D543-81E9-7CEACDFDD7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65763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1CA7F41-5616-184F-A0B3-355737516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32E407F-9E72-314C-8C4E-C0CFD5618E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8F9BA7F-AED7-F343-AAEF-0471EEA26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0FE546D-59E8-C345-959E-980C4E862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7327647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B216F155-D49E-5547-9C5D-DE18238AAF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8F298E3-4E65-D643-9F87-9681706BBB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34E11CC-8EFC-774E-97C2-1FC8521399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892096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DEF8E38-9089-BD45-B571-4303496775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B695844-0C07-7345-B038-0D87E599EB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DBCB5F31-9715-1E4A-9B29-185DFBA15BB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61F4217-70A3-CB43-9C80-2DC823C0B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4018A0ED-899B-8148-9B4C-DBB7068B029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FA750D3C-3E2C-804C-BB32-4D15C84C3A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56819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85373BA-D361-8E48-A66B-EEDAFEB4FC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E017E0C8-8B46-1A41-92C8-F63DBEE7766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E76887C-DAE5-7D41-A1AC-717D02C689D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EA234583-1100-584F-839D-24E338BCFC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C876B56A-58E0-1E44-A5B2-C566D3DFD4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01E04C42-6C7E-064D-A26B-1BA4425976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5579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F51B870D-F3D7-9141-B7DB-505FE529BF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EA8995C1-4044-DB4D-A78F-EFD10E8EC4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nl-NL"/>
              <a:t>Tekststijl van het model bewerken
Tweede niveau
Derde niveau
Vierde niveau
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6F9AFEDF-30E3-6741-A711-B7491118AF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329AACF-5083-E04C-BF4D-2C9ECDFD8FDE}" type="datetimeFigureOut">
              <a:rPr lang="nl-NL" smtClean="0"/>
              <a:t>14-2-2019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0520280-712D-3E41-915B-DB96B517B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78972E3F-3FDE-2048-B245-DBEBDBB8CF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4AA8E8B-A754-1F4E-AEA8-7580955C80C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80734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2.pn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7" Type="http://schemas.openxmlformats.org/officeDocument/2006/relationships/image" Target="../media/image25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2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3" Type="http://schemas.openxmlformats.org/officeDocument/2006/relationships/image" Target="../media/image28.jpg"/><Relationship Id="rId7" Type="http://schemas.openxmlformats.org/officeDocument/2006/relationships/image" Target="../media/image33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0.png"/><Relationship Id="rId5" Type="http://schemas.openxmlformats.org/officeDocument/2006/relationships/image" Target="../media/image32.jpg"/><Relationship Id="rId4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34.png"/><Relationship Id="rId7" Type="http://schemas.openxmlformats.org/officeDocument/2006/relationships/image" Target="../media/image32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emf"/><Relationship Id="rId5" Type="http://schemas.openxmlformats.org/officeDocument/2006/relationships/image" Target="../media/image33.emf"/><Relationship Id="rId4" Type="http://schemas.openxmlformats.org/officeDocument/2006/relationships/image" Target="../media/image29.png"/><Relationship Id="rId9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image" Target="../media/image34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emf"/><Relationship Id="rId5" Type="http://schemas.openxmlformats.org/officeDocument/2006/relationships/image" Target="../media/image33.emf"/><Relationship Id="rId10" Type="http://schemas.openxmlformats.org/officeDocument/2006/relationships/image" Target="../media/image31.pn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4.png"/><Relationship Id="rId7" Type="http://schemas.openxmlformats.org/officeDocument/2006/relationships/image" Target="../media/image36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emf"/><Relationship Id="rId11" Type="http://schemas.openxmlformats.org/officeDocument/2006/relationships/image" Target="../media/image31.png"/><Relationship Id="rId5" Type="http://schemas.openxmlformats.org/officeDocument/2006/relationships/image" Target="../media/image33.emf"/><Relationship Id="rId10" Type="http://schemas.openxmlformats.org/officeDocument/2006/relationships/image" Target="../media/image30.png"/><Relationship Id="rId4" Type="http://schemas.openxmlformats.org/officeDocument/2006/relationships/image" Target="../media/image29.png"/><Relationship Id="rId9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6.jpe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emf"/><Relationship Id="rId3" Type="http://schemas.openxmlformats.org/officeDocument/2006/relationships/image" Target="../media/image34.png"/><Relationship Id="rId7" Type="http://schemas.openxmlformats.org/officeDocument/2006/relationships/image" Target="../media/image36.emf"/><Relationship Id="rId12" Type="http://schemas.openxmlformats.org/officeDocument/2006/relationships/image" Target="../media/image31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5.emf"/><Relationship Id="rId11" Type="http://schemas.openxmlformats.org/officeDocument/2006/relationships/image" Target="../media/image30.png"/><Relationship Id="rId5" Type="http://schemas.openxmlformats.org/officeDocument/2006/relationships/image" Target="../media/image33.emf"/><Relationship Id="rId10" Type="http://schemas.openxmlformats.org/officeDocument/2006/relationships/image" Target="../media/image32.jpg"/><Relationship Id="rId4" Type="http://schemas.openxmlformats.org/officeDocument/2006/relationships/image" Target="../media/image29.png"/><Relationship Id="rId9" Type="http://schemas.openxmlformats.org/officeDocument/2006/relationships/image" Target="../media/image38.emf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image" Target="../media/image34.png"/><Relationship Id="rId7" Type="http://schemas.openxmlformats.org/officeDocument/2006/relationships/image" Target="../media/image39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emf"/><Relationship Id="rId5" Type="http://schemas.openxmlformats.org/officeDocument/2006/relationships/image" Target="../media/image37.emf"/><Relationship Id="rId10" Type="http://schemas.openxmlformats.org/officeDocument/2006/relationships/image" Target="../media/image31.pn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g"/><Relationship Id="rId3" Type="http://schemas.openxmlformats.org/officeDocument/2006/relationships/image" Target="../media/image34.png"/><Relationship Id="rId7" Type="http://schemas.openxmlformats.org/officeDocument/2006/relationships/image" Target="../media/image40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9.emf"/><Relationship Id="rId5" Type="http://schemas.openxmlformats.org/officeDocument/2006/relationships/image" Target="../media/image38.emf"/><Relationship Id="rId10" Type="http://schemas.openxmlformats.org/officeDocument/2006/relationships/image" Target="../media/image31.pn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tif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8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6.xml"/><Relationship Id="rId7" Type="http://schemas.openxmlformats.org/officeDocument/2006/relationships/image" Target="../media/image4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7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.xml"/><Relationship Id="rId7" Type="http://schemas.openxmlformats.org/officeDocument/2006/relationships/image" Target="../media/image4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7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11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image" Target="../media/image1.png"/><Relationship Id="rId7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emf"/><Relationship Id="rId5" Type="http://schemas.openxmlformats.org/officeDocument/2006/relationships/image" Target="../media/image16.png"/><Relationship Id="rId4" Type="http://schemas.openxmlformats.org/officeDocument/2006/relationships/image" Target="../media/image15.png"/><Relationship Id="rId9" Type="http://schemas.openxmlformats.org/officeDocument/2006/relationships/image" Target="../media/image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HandsmaidTale.mp4">
            <a:hlinkClick r:id="" action="ppaction://media"/>
            <a:extLst>
              <a:ext uri="{FF2B5EF4-FFF2-40B4-BE49-F238E27FC236}">
                <a16:creationId xmlns:a16="http://schemas.microsoft.com/office/drawing/2014/main" id="{1A6987C6-8A20-4844-890D-D45EFD237AC4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0" y="0"/>
            <a:ext cx="12192000" cy="8158216"/>
          </a:xfrm>
          <a:prstGeom prst="rect">
            <a:avLst/>
          </a:prstGeom>
        </p:spPr>
      </p:pic>
      <p:pic>
        <p:nvPicPr>
          <p:cNvPr id="18" name="Afbeelding 17" descr="Afbeelding met illustratie&#10;&#10;&#10;&#10;Automatisch gegenereerde beschrijving">
            <a:extLst>
              <a:ext uri="{FF2B5EF4-FFF2-40B4-BE49-F238E27FC236}">
                <a16:creationId xmlns:a16="http://schemas.microsoft.com/office/drawing/2014/main" id="{627CABCC-B2F4-A64B-A6C6-3A3FD8CCD9D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62835" y="1649120"/>
            <a:ext cx="7466329" cy="21227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26086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333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2EEC9E12-1450-2D44-A881-B85586C86B5D}"/>
              </a:ext>
            </a:extLst>
          </p:cNvPr>
          <p:cNvSpPr/>
          <p:nvPr/>
        </p:nvSpPr>
        <p:spPr>
          <a:xfrm>
            <a:off x="616959" y="2514600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% Contacten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82F2E41A-8AAE-4E4C-B4F4-3C8ABEDD0A6D}"/>
              </a:ext>
            </a:extLst>
          </p:cNvPr>
          <p:cNvSpPr/>
          <p:nvPr/>
        </p:nvSpPr>
        <p:spPr>
          <a:xfrm>
            <a:off x="616958" y="3685106"/>
            <a:ext cx="5479041" cy="914400"/>
          </a:xfrm>
          <a:prstGeom prst="roundRect">
            <a:avLst>
              <a:gd name="adj" fmla="val 50000"/>
            </a:avLst>
          </a:prstGeom>
          <a:solidFill>
            <a:srgbClr val="4A9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/>
                </a:solidFill>
                <a:latin typeface="Euclid Flex RTL" panose="020B0500030000000000" pitchFamily="34" charset="77"/>
              </a:rPr>
              <a:t>NPS</a:t>
            </a:r>
            <a:endParaRPr lang="nl-NL" sz="2800" dirty="0">
              <a:solidFill>
                <a:schemeClr val="bg1"/>
              </a:solidFill>
              <a:latin typeface="Euclid Flex RTL" panose="020B0500030000000000" pitchFamily="34" charset="77"/>
            </a:endParaRPr>
          </a:p>
        </p:txBody>
      </p:sp>
      <p:sp>
        <p:nvSpPr>
          <p:cNvPr id="9" name="Afgeronde rechthoek 8">
            <a:extLst>
              <a:ext uri="{FF2B5EF4-FFF2-40B4-BE49-F238E27FC236}">
                <a16:creationId xmlns:a16="http://schemas.microsoft.com/office/drawing/2014/main" id="{CD23D5A4-3F86-B64C-A0C6-D66E971B6F42}"/>
              </a:ext>
            </a:extLst>
          </p:cNvPr>
          <p:cNvSpPr/>
          <p:nvPr/>
        </p:nvSpPr>
        <p:spPr>
          <a:xfrm>
            <a:off x="616958" y="4855612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Contact </a:t>
            </a:r>
            <a:r>
              <a:rPr lang="nl-NL" sz="2400" dirty="0" err="1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SLA’s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BB92ADDE-EDFD-944F-AA11-A9B02DD3FE1A}"/>
              </a:ext>
            </a:extLst>
          </p:cNvPr>
          <p:cNvSpPr/>
          <p:nvPr/>
        </p:nvSpPr>
        <p:spPr>
          <a:xfrm>
            <a:off x="616958" y="705398"/>
            <a:ext cx="46468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200" b="0" i="0" u="none" strike="noStrike" kern="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clid Flex RTL Bold" charset="0"/>
              </a:rPr>
              <a:t>KPI’s</a:t>
            </a:r>
            <a:endParaRPr kumimoji="0" lang="nl-NL" sz="7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187494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2EEC9E12-1450-2D44-A881-B85586C86B5D}"/>
              </a:ext>
            </a:extLst>
          </p:cNvPr>
          <p:cNvSpPr/>
          <p:nvPr/>
        </p:nvSpPr>
        <p:spPr>
          <a:xfrm>
            <a:off x="616959" y="2514600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% Contacten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82F2E41A-8AAE-4E4C-B4F4-3C8ABEDD0A6D}"/>
              </a:ext>
            </a:extLst>
          </p:cNvPr>
          <p:cNvSpPr/>
          <p:nvPr/>
        </p:nvSpPr>
        <p:spPr>
          <a:xfrm>
            <a:off x="616958" y="3685106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NPS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9" name="Afgeronde rechthoek 8">
            <a:extLst>
              <a:ext uri="{FF2B5EF4-FFF2-40B4-BE49-F238E27FC236}">
                <a16:creationId xmlns:a16="http://schemas.microsoft.com/office/drawing/2014/main" id="{CD23D5A4-3F86-B64C-A0C6-D66E971B6F42}"/>
              </a:ext>
            </a:extLst>
          </p:cNvPr>
          <p:cNvSpPr/>
          <p:nvPr/>
        </p:nvSpPr>
        <p:spPr>
          <a:xfrm>
            <a:off x="616958" y="4855612"/>
            <a:ext cx="5479041" cy="914400"/>
          </a:xfrm>
          <a:prstGeom prst="roundRect">
            <a:avLst>
              <a:gd name="adj" fmla="val 50000"/>
            </a:avLst>
          </a:prstGeom>
          <a:solidFill>
            <a:srgbClr val="4A9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/>
                </a:solidFill>
                <a:latin typeface="Euclid Flex RTL" panose="020B0500030000000000" pitchFamily="34" charset="77"/>
              </a:rPr>
              <a:t>Contact </a:t>
            </a:r>
            <a:r>
              <a:rPr lang="nl-NL" sz="2400" dirty="0" err="1">
                <a:solidFill>
                  <a:schemeClr val="bg1"/>
                </a:solidFill>
                <a:latin typeface="Euclid Flex RTL" panose="020B0500030000000000" pitchFamily="34" charset="77"/>
              </a:rPr>
              <a:t>SLA’s</a:t>
            </a:r>
            <a:endParaRPr lang="nl-NL" sz="2800" dirty="0">
              <a:solidFill>
                <a:schemeClr val="bg1"/>
              </a:solidFill>
              <a:latin typeface="Euclid Flex RTL" panose="020B0500030000000000" pitchFamily="34" charset="77"/>
            </a:endParaRPr>
          </a:p>
        </p:txBody>
      </p:sp>
      <p:sp>
        <p:nvSpPr>
          <p:cNvPr id="7" name="Rechthoek 6">
            <a:extLst>
              <a:ext uri="{FF2B5EF4-FFF2-40B4-BE49-F238E27FC236}">
                <a16:creationId xmlns:a16="http://schemas.microsoft.com/office/drawing/2014/main" id="{20437F3E-5D0E-FD4B-B01F-98E5D38713EA}"/>
              </a:ext>
            </a:extLst>
          </p:cNvPr>
          <p:cNvSpPr/>
          <p:nvPr/>
        </p:nvSpPr>
        <p:spPr>
          <a:xfrm>
            <a:off x="616958" y="705398"/>
            <a:ext cx="46468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200" b="0" i="0" u="none" strike="noStrike" kern="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clid Flex RTL Bold" charset="0"/>
              </a:rPr>
              <a:t>KPI’s</a:t>
            </a:r>
            <a:endParaRPr kumimoji="0" lang="nl-NL" sz="7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708C4BFE-35ED-9B4A-A80F-48493B7E87C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9604" y="5215258"/>
            <a:ext cx="767003" cy="719065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14CBBB00-4E5C-D940-81DF-8DC8D5C7163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2445" y="2335285"/>
            <a:ext cx="843260" cy="678561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69988E01-B407-1441-BE5B-C203DA1297C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04794" y="3802746"/>
            <a:ext cx="678561" cy="678561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9E29FEFC-5A86-C642-AA18-2ABBD3E0791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923121" y="751933"/>
            <a:ext cx="571132" cy="949414"/>
          </a:xfrm>
          <a:prstGeom prst="rect">
            <a:avLst/>
          </a:prstGeom>
        </p:spPr>
      </p:pic>
      <p:grpSp>
        <p:nvGrpSpPr>
          <p:cNvPr id="10" name="Groep 9">
            <a:extLst>
              <a:ext uri="{FF2B5EF4-FFF2-40B4-BE49-F238E27FC236}">
                <a16:creationId xmlns:a16="http://schemas.microsoft.com/office/drawing/2014/main" id="{0C5F80AD-8315-C94D-8BB4-DD51E75948BA}"/>
              </a:ext>
            </a:extLst>
          </p:cNvPr>
          <p:cNvGrpSpPr/>
          <p:nvPr/>
        </p:nvGrpSpPr>
        <p:grpSpPr>
          <a:xfrm>
            <a:off x="9083774" y="616436"/>
            <a:ext cx="1955818" cy="1087282"/>
            <a:chOff x="8858487" y="1229010"/>
            <a:chExt cx="1955818" cy="1087282"/>
          </a:xfrm>
        </p:grpSpPr>
        <p:sp>
          <p:nvSpPr>
            <p:cNvPr id="3" name="Rechthoek 2">
              <a:extLst>
                <a:ext uri="{FF2B5EF4-FFF2-40B4-BE49-F238E27FC236}">
                  <a16:creationId xmlns:a16="http://schemas.microsoft.com/office/drawing/2014/main" id="{4C197CEF-0C6A-9843-ADC3-FD8EA31A94EC}"/>
                </a:ext>
              </a:extLst>
            </p:cNvPr>
            <p:cNvSpPr/>
            <p:nvPr/>
          </p:nvSpPr>
          <p:spPr>
            <a:xfrm>
              <a:off x="8858487" y="1229010"/>
              <a:ext cx="195581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nl-NL" sz="2800" b="1" dirty="0" err="1">
                  <a:solidFill>
                    <a:schemeClr val="bg1"/>
                  </a:solidFill>
                  <a:latin typeface="Euclid Flex RTL Bold" panose="020B0800030000000000" pitchFamily="34" charset="0"/>
                </a:rPr>
                <a:t>Social</a:t>
              </a:r>
              <a:endParaRPr lang="nl-NL" sz="2800" b="1" dirty="0">
                <a:solidFill>
                  <a:schemeClr val="bg1"/>
                </a:solidFill>
                <a:latin typeface="Euclid Flex RTL Bold" panose="020B0800030000000000" pitchFamily="34" charset="0"/>
              </a:endParaRPr>
            </a:p>
          </p:txBody>
        </p:sp>
        <p:sp>
          <p:nvSpPr>
            <p:cNvPr id="12" name="Afgeronde rechthoek 11">
              <a:extLst>
                <a:ext uri="{FF2B5EF4-FFF2-40B4-BE49-F238E27FC236}">
                  <a16:creationId xmlns:a16="http://schemas.microsoft.com/office/drawing/2014/main" id="{E436E64F-6C52-CE45-89BF-D2C980109838}"/>
                </a:ext>
              </a:extLst>
            </p:cNvPr>
            <p:cNvSpPr/>
            <p:nvPr/>
          </p:nvSpPr>
          <p:spPr>
            <a:xfrm>
              <a:off x="8858487" y="1793073"/>
              <a:ext cx="1955817" cy="523219"/>
            </a:xfrm>
            <a:prstGeom prst="roundRect">
              <a:avLst>
                <a:gd name="adj" fmla="val 50000"/>
              </a:avLst>
            </a:prstGeom>
            <a:solidFill>
              <a:srgbClr val="4A90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0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95% &lt; 1 uur</a:t>
              </a:r>
              <a:endParaRPr lang="nl-NL" sz="2000" dirty="0">
                <a:solidFill>
                  <a:schemeClr val="lt1">
                    <a:alpha val="90000"/>
                  </a:schemeClr>
                </a:solidFill>
                <a:latin typeface="Euclid Flex RTL" panose="020B0500030000000000" pitchFamily="34" charset="77"/>
              </a:endParaRPr>
            </a:p>
          </p:txBody>
        </p:sp>
      </p:grpSp>
      <p:grpSp>
        <p:nvGrpSpPr>
          <p:cNvPr id="19" name="Groep 18">
            <a:extLst>
              <a:ext uri="{FF2B5EF4-FFF2-40B4-BE49-F238E27FC236}">
                <a16:creationId xmlns:a16="http://schemas.microsoft.com/office/drawing/2014/main" id="{4B91375F-D473-1840-ACA7-C44957E2259D}"/>
              </a:ext>
            </a:extLst>
          </p:cNvPr>
          <p:cNvGrpSpPr/>
          <p:nvPr/>
        </p:nvGrpSpPr>
        <p:grpSpPr>
          <a:xfrm>
            <a:off x="9083774" y="2086927"/>
            <a:ext cx="1955818" cy="1023378"/>
            <a:chOff x="8858487" y="2543491"/>
            <a:chExt cx="1955818" cy="1023378"/>
          </a:xfrm>
        </p:grpSpPr>
        <p:sp>
          <p:nvSpPr>
            <p:cNvPr id="13" name="Afgeronde rechthoek 12">
              <a:extLst>
                <a:ext uri="{FF2B5EF4-FFF2-40B4-BE49-F238E27FC236}">
                  <a16:creationId xmlns:a16="http://schemas.microsoft.com/office/drawing/2014/main" id="{1CFA65EB-4441-554C-90AB-B2F338B95622}"/>
                </a:ext>
              </a:extLst>
            </p:cNvPr>
            <p:cNvSpPr/>
            <p:nvPr/>
          </p:nvSpPr>
          <p:spPr>
            <a:xfrm>
              <a:off x="8858487" y="3043649"/>
              <a:ext cx="1955817" cy="523220"/>
            </a:xfrm>
            <a:prstGeom prst="roundRect">
              <a:avLst>
                <a:gd name="adj" fmla="val 50000"/>
              </a:avLst>
            </a:prstGeom>
            <a:solidFill>
              <a:srgbClr val="4A90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nl-NL" sz="20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95% &lt; 1 minuut</a:t>
              </a:r>
            </a:p>
          </p:txBody>
        </p:sp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EC218867-C9F6-A94A-B9C6-37D59C48F563}"/>
                </a:ext>
              </a:extLst>
            </p:cNvPr>
            <p:cNvSpPr/>
            <p:nvPr/>
          </p:nvSpPr>
          <p:spPr>
            <a:xfrm>
              <a:off x="8858487" y="2543491"/>
              <a:ext cx="195581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nl-NL" sz="2800" b="1" dirty="0">
                  <a:solidFill>
                    <a:schemeClr val="bg1"/>
                  </a:solidFill>
                  <a:latin typeface="Euclid Flex RTL Bold" panose="020B0800030000000000" pitchFamily="34" charset="0"/>
                </a:rPr>
                <a:t>Chat</a:t>
              </a:r>
            </a:p>
          </p:txBody>
        </p:sp>
      </p:grpSp>
      <p:grpSp>
        <p:nvGrpSpPr>
          <p:cNvPr id="20" name="Groep 19">
            <a:extLst>
              <a:ext uri="{FF2B5EF4-FFF2-40B4-BE49-F238E27FC236}">
                <a16:creationId xmlns:a16="http://schemas.microsoft.com/office/drawing/2014/main" id="{553BD16B-9783-1948-8060-09088E29BB1A}"/>
              </a:ext>
            </a:extLst>
          </p:cNvPr>
          <p:cNvGrpSpPr/>
          <p:nvPr/>
        </p:nvGrpSpPr>
        <p:grpSpPr>
          <a:xfrm>
            <a:off x="9083774" y="3557418"/>
            <a:ext cx="1955818" cy="1064322"/>
            <a:chOff x="8858487" y="3791290"/>
            <a:chExt cx="1955818" cy="1064322"/>
          </a:xfrm>
        </p:grpSpPr>
        <p:sp>
          <p:nvSpPr>
            <p:cNvPr id="14" name="Afgeronde rechthoek 13">
              <a:extLst>
                <a:ext uri="{FF2B5EF4-FFF2-40B4-BE49-F238E27FC236}">
                  <a16:creationId xmlns:a16="http://schemas.microsoft.com/office/drawing/2014/main" id="{FA06FB8A-B36C-DC45-8ABE-B843EFCF17DA}"/>
                </a:ext>
              </a:extLst>
            </p:cNvPr>
            <p:cNvSpPr/>
            <p:nvPr/>
          </p:nvSpPr>
          <p:spPr>
            <a:xfrm>
              <a:off x="8858487" y="4348193"/>
              <a:ext cx="1955817" cy="507419"/>
            </a:xfrm>
            <a:prstGeom prst="roundRect">
              <a:avLst>
                <a:gd name="adj" fmla="val 50000"/>
              </a:avLst>
            </a:prstGeom>
            <a:solidFill>
              <a:srgbClr val="4A90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nl-NL" sz="20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60% &lt; 30 sec</a:t>
              </a:r>
            </a:p>
          </p:txBody>
        </p:sp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148146B0-E770-5C47-AD3A-023DFA6FFB0D}"/>
                </a:ext>
              </a:extLst>
            </p:cNvPr>
            <p:cNvSpPr/>
            <p:nvPr/>
          </p:nvSpPr>
          <p:spPr>
            <a:xfrm>
              <a:off x="8858487" y="3791290"/>
              <a:ext cx="195581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nl-NL" sz="2800" b="1" dirty="0">
                  <a:solidFill>
                    <a:schemeClr val="bg1"/>
                  </a:solidFill>
                  <a:latin typeface="Euclid Flex RTL Bold" panose="020B0800030000000000" pitchFamily="34" charset="0"/>
                </a:rPr>
                <a:t>Telefoon</a:t>
              </a:r>
            </a:p>
          </p:txBody>
        </p:sp>
      </p:grpSp>
      <p:grpSp>
        <p:nvGrpSpPr>
          <p:cNvPr id="21" name="Groep 20">
            <a:extLst>
              <a:ext uri="{FF2B5EF4-FFF2-40B4-BE49-F238E27FC236}">
                <a16:creationId xmlns:a16="http://schemas.microsoft.com/office/drawing/2014/main" id="{0BD239B4-CC78-5647-B652-F53C457BC82A}"/>
              </a:ext>
            </a:extLst>
          </p:cNvPr>
          <p:cNvGrpSpPr/>
          <p:nvPr/>
        </p:nvGrpSpPr>
        <p:grpSpPr>
          <a:xfrm>
            <a:off x="9083774" y="5027909"/>
            <a:ext cx="1955818" cy="1070102"/>
            <a:chOff x="8858487" y="5082108"/>
            <a:chExt cx="1955818" cy="1070102"/>
          </a:xfrm>
        </p:grpSpPr>
        <p:sp>
          <p:nvSpPr>
            <p:cNvPr id="15" name="Afgeronde rechthoek 14">
              <a:extLst>
                <a:ext uri="{FF2B5EF4-FFF2-40B4-BE49-F238E27FC236}">
                  <a16:creationId xmlns:a16="http://schemas.microsoft.com/office/drawing/2014/main" id="{94349386-D8BB-C74E-98C9-3DE2A6D94105}"/>
                </a:ext>
              </a:extLst>
            </p:cNvPr>
            <p:cNvSpPr/>
            <p:nvPr/>
          </p:nvSpPr>
          <p:spPr>
            <a:xfrm>
              <a:off x="8858487" y="5628990"/>
              <a:ext cx="1955817" cy="523220"/>
            </a:xfrm>
            <a:prstGeom prst="roundRect">
              <a:avLst>
                <a:gd name="adj" fmla="val 50000"/>
              </a:avLst>
            </a:prstGeom>
            <a:solidFill>
              <a:srgbClr val="4A90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defRPr/>
              </a:pPr>
              <a:r>
                <a:rPr lang="nl-NL" sz="20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95% &lt; 48 uur</a:t>
              </a:r>
            </a:p>
          </p:txBody>
        </p:sp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47DC40FC-7B5F-FC4C-807F-60A4E41A2E68}"/>
                </a:ext>
              </a:extLst>
            </p:cNvPr>
            <p:cNvSpPr/>
            <p:nvPr/>
          </p:nvSpPr>
          <p:spPr>
            <a:xfrm>
              <a:off x="8858487" y="5082108"/>
              <a:ext cx="195581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nl-NL" sz="2800" b="1" dirty="0">
                  <a:solidFill>
                    <a:schemeClr val="bg1"/>
                  </a:solidFill>
                  <a:latin typeface="Euclid Flex RTL Bold" panose="020B0800030000000000" pitchFamily="34" charset="0"/>
                </a:rPr>
                <a:t>Email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71968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hoek 3">
            <a:extLst>
              <a:ext uri="{FF2B5EF4-FFF2-40B4-BE49-F238E27FC236}">
                <a16:creationId xmlns:a16="http://schemas.microsoft.com/office/drawing/2014/main" id="{5D6E7264-C61B-1A4E-8D40-2F599D066176}"/>
              </a:ext>
            </a:extLst>
          </p:cNvPr>
          <p:cNvSpPr/>
          <p:nvPr/>
        </p:nvSpPr>
        <p:spPr>
          <a:xfrm>
            <a:off x="919841" y="2612651"/>
            <a:ext cx="5458546" cy="27634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nl-NL" sz="40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Efficiënt</a:t>
            </a:r>
          </a:p>
          <a:p>
            <a:pPr>
              <a:lnSpc>
                <a:spcPct val="150000"/>
              </a:lnSpc>
            </a:pPr>
            <a:r>
              <a:rPr lang="nl-NL" sz="40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Transparant</a:t>
            </a:r>
          </a:p>
          <a:p>
            <a:pPr>
              <a:lnSpc>
                <a:spcPct val="150000"/>
              </a:lnSpc>
            </a:pPr>
            <a:r>
              <a:rPr lang="nl-NL" sz="40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Klanten helpen elkaar</a:t>
            </a:r>
            <a:endParaRPr lang="nl-NL" sz="4000" dirty="0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E278DC2F-2960-5643-BB60-11D6E862CC36}"/>
              </a:ext>
            </a:extLst>
          </p:cNvPr>
          <p:cNvSpPr txBox="1"/>
          <p:nvPr/>
        </p:nvSpPr>
        <p:spPr>
          <a:xfrm>
            <a:off x="754741" y="856838"/>
            <a:ext cx="451053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72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Voordelen</a:t>
            </a:r>
          </a:p>
        </p:txBody>
      </p:sp>
    </p:spTree>
    <p:extLst>
      <p:ext uri="{BB962C8B-B14F-4D97-AF65-F5344CB8AC3E}">
        <p14:creationId xmlns:p14="http://schemas.microsoft.com/office/powerpoint/2010/main" val="174106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Grafiek 1">
            <a:extLst>
              <a:ext uri="{FF2B5EF4-FFF2-40B4-BE49-F238E27FC236}">
                <a16:creationId xmlns:a16="http://schemas.microsoft.com/office/drawing/2014/main" id="{7582CE5F-DAA1-4A4F-89B1-1FFCE99BE7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9169803"/>
              </p:ext>
            </p:extLst>
          </p:nvPr>
        </p:nvGraphicFramePr>
        <p:xfrm>
          <a:off x="351692" y="2347822"/>
          <a:ext cx="6049107" cy="45498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Tekstvak 11">
            <a:extLst>
              <a:ext uri="{FF2B5EF4-FFF2-40B4-BE49-F238E27FC236}">
                <a16:creationId xmlns:a16="http://schemas.microsoft.com/office/drawing/2014/main" id="{81D2F876-1FFB-6A4D-A438-F91819B4C723}"/>
              </a:ext>
            </a:extLst>
          </p:cNvPr>
          <p:cNvSpPr txBox="1"/>
          <p:nvPr/>
        </p:nvSpPr>
        <p:spPr>
          <a:xfrm>
            <a:off x="472354" y="856838"/>
            <a:ext cx="354456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72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Aanbod</a:t>
            </a:r>
          </a:p>
        </p:txBody>
      </p:sp>
      <p:sp>
        <p:nvSpPr>
          <p:cNvPr id="7" name="Afgeronde rechthoek 6">
            <a:extLst>
              <a:ext uri="{FF2B5EF4-FFF2-40B4-BE49-F238E27FC236}">
                <a16:creationId xmlns:a16="http://schemas.microsoft.com/office/drawing/2014/main" id="{38F0E0FF-EE94-8E4A-B44B-5350D00B6B99}"/>
              </a:ext>
            </a:extLst>
          </p:cNvPr>
          <p:cNvSpPr/>
          <p:nvPr/>
        </p:nvSpPr>
        <p:spPr>
          <a:xfrm>
            <a:off x="5927465" y="3236870"/>
            <a:ext cx="1163437" cy="319058"/>
          </a:xfrm>
          <a:prstGeom prst="roundRect">
            <a:avLst>
              <a:gd name="adj" fmla="val 50000"/>
            </a:avLst>
          </a:prstGeom>
          <a:solidFill>
            <a:srgbClr val="A5A5A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>
                <a:latin typeface="Euclid Flex RTL" charset="0"/>
                <a:ea typeface="Euclid Flex RTL" charset="0"/>
                <a:cs typeface="Euclid Flex RTL" charset="0"/>
              </a:rPr>
              <a:t>NPS +45</a:t>
            </a:r>
          </a:p>
        </p:txBody>
      </p:sp>
      <p:sp>
        <p:nvSpPr>
          <p:cNvPr id="13" name="Afgeronde rechthoek 12">
            <a:extLst>
              <a:ext uri="{FF2B5EF4-FFF2-40B4-BE49-F238E27FC236}">
                <a16:creationId xmlns:a16="http://schemas.microsoft.com/office/drawing/2014/main" id="{D9F874C0-CB96-324A-93A4-8DAFC7632D43}"/>
              </a:ext>
            </a:extLst>
          </p:cNvPr>
          <p:cNvSpPr/>
          <p:nvPr/>
        </p:nvSpPr>
        <p:spPr>
          <a:xfrm>
            <a:off x="5927465" y="3765842"/>
            <a:ext cx="1163437" cy="319058"/>
          </a:xfrm>
          <a:prstGeom prst="roundRect">
            <a:avLst>
              <a:gd name="adj" fmla="val 50000"/>
            </a:avLst>
          </a:prstGeom>
          <a:solidFill>
            <a:srgbClr val="5B9BD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>
                <a:latin typeface="Euclid Flex RTL" charset="0"/>
                <a:ea typeface="Euclid Flex RTL" charset="0"/>
                <a:cs typeface="Euclid Flex RTL" charset="0"/>
              </a:rPr>
              <a:t>NPS +39</a:t>
            </a:r>
          </a:p>
        </p:txBody>
      </p:sp>
      <p:sp>
        <p:nvSpPr>
          <p:cNvPr id="14" name="Afgeronde rechthoek 13">
            <a:extLst>
              <a:ext uri="{FF2B5EF4-FFF2-40B4-BE49-F238E27FC236}">
                <a16:creationId xmlns:a16="http://schemas.microsoft.com/office/drawing/2014/main" id="{C6F0FB32-FB4F-6548-B1CB-A807F69BC6D4}"/>
              </a:ext>
            </a:extLst>
          </p:cNvPr>
          <p:cNvSpPr/>
          <p:nvPr/>
        </p:nvSpPr>
        <p:spPr>
          <a:xfrm>
            <a:off x="5927465" y="4823173"/>
            <a:ext cx="1163437" cy="319058"/>
          </a:xfrm>
          <a:prstGeom prst="roundRect">
            <a:avLst>
              <a:gd name="adj" fmla="val 50000"/>
            </a:avLst>
          </a:prstGeom>
          <a:solidFill>
            <a:srgbClr val="EE7D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>
                <a:latin typeface="Euclid Flex RTL" charset="0"/>
                <a:ea typeface="Euclid Flex RTL" charset="0"/>
                <a:cs typeface="Euclid Flex RTL" charset="0"/>
              </a:rPr>
              <a:t>NPS +10</a:t>
            </a:r>
          </a:p>
        </p:txBody>
      </p:sp>
      <p:sp>
        <p:nvSpPr>
          <p:cNvPr id="15" name="Afgeronde rechthoek 14">
            <a:extLst>
              <a:ext uri="{FF2B5EF4-FFF2-40B4-BE49-F238E27FC236}">
                <a16:creationId xmlns:a16="http://schemas.microsoft.com/office/drawing/2014/main" id="{849E1C80-9972-E540-AAE8-7721DDC9A5FD}"/>
              </a:ext>
            </a:extLst>
          </p:cNvPr>
          <p:cNvSpPr/>
          <p:nvPr/>
        </p:nvSpPr>
        <p:spPr>
          <a:xfrm>
            <a:off x="5927465" y="5535482"/>
            <a:ext cx="1163437" cy="319058"/>
          </a:xfrm>
          <a:prstGeom prst="roundRect">
            <a:avLst>
              <a:gd name="adj" fmla="val 50000"/>
            </a:avLst>
          </a:prstGeom>
          <a:solidFill>
            <a:srgbClr val="FFC0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l-NL" dirty="0">
                <a:latin typeface="Euclid Flex RTL" charset="0"/>
                <a:ea typeface="Euclid Flex RTL" charset="0"/>
                <a:cs typeface="Euclid Flex RTL" charset="0"/>
              </a:rPr>
              <a:t>NPS +21</a:t>
            </a:r>
          </a:p>
        </p:txBody>
      </p:sp>
    </p:spTree>
    <p:extLst>
      <p:ext uri="{BB962C8B-B14F-4D97-AF65-F5344CB8AC3E}">
        <p14:creationId xmlns:p14="http://schemas.microsoft.com/office/powerpoint/2010/main" val="13298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FB2DEBE8-6BA6-1347-A2E8-3F7A87F1334B}"/>
              </a:ext>
            </a:extLst>
          </p:cNvPr>
          <p:cNvGrpSpPr/>
          <p:nvPr/>
        </p:nvGrpSpPr>
        <p:grpSpPr>
          <a:xfrm>
            <a:off x="7077484" y="646698"/>
            <a:ext cx="2782302" cy="5564603"/>
            <a:chOff x="6916119" y="646698"/>
            <a:chExt cx="2782302" cy="5564603"/>
          </a:xfrm>
        </p:grpSpPr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9A59F0C4-4B19-6D4C-88E6-AFD6CA5B0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1890" b="8198"/>
            <a:stretch/>
          </p:blipFill>
          <p:spPr>
            <a:xfrm>
              <a:off x="7097184" y="1429232"/>
              <a:ext cx="2420173" cy="4187798"/>
            </a:xfrm>
            <a:prstGeom prst="rect">
              <a:avLst/>
            </a:prstGeom>
          </p:spPr>
        </p:pic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FC581675-A719-804B-B578-DDC1161A18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9671" b="8198"/>
            <a:stretch/>
          </p:blipFill>
          <p:spPr>
            <a:xfrm>
              <a:off x="7097184" y="2885102"/>
              <a:ext cx="2420173" cy="2731927"/>
            </a:xfrm>
            <a:prstGeom prst="rect">
              <a:avLst/>
            </a:prstGeom>
          </p:spPr>
        </p:pic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279DACDD-9B53-8541-A648-3874119513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8111"/>
            <a:stretch/>
          </p:blipFill>
          <p:spPr>
            <a:xfrm>
              <a:off x="7097184" y="806169"/>
              <a:ext cx="2420173" cy="623062"/>
            </a:xfrm>
            <a:prstGeom prst="rect">
              <a:avLst/>
            </a:prstGeom>
          </p:spPr>
        </p:pic>
        <p:pic>
          <p:nvPicPr>
            <p:cNvPr id="13" name="Afbeelding 12">
              <a:extLst>
                <a:ext uri="{FF2B5EF4-FFF2-40B4-BE49-F238E27FC236}">
                  <a16:creationId xmlns:a16="http://schemas.microsoft.com/office/drawing/2014/main" id="{B25B19CC-42A3-6549-8D87-D46B0135DE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91802"/>
            <a:stretch/>
          </p:blipFill>
          <p:spPr>
            <a:xfrm>
              <a:off x="7097184" y="5617029"/>
              <a:ext cx="2420173" cy="429621"/>
            </a:xfrm>
            <a:prstGeom prst="rect">
              <a:avLst/>
            </a:prstGeom>
          </p:spPr>
        </p:pic>
        <p:pic>
          <p:nvPicPr>
            <p:cNvPr id="8" name="Afbeelding 7" descr="Afbeelding met monitor, elektronica, binnen, iPod&#10;&#10;&#10;&#10;Automatisch gegenereerde beschrijving">
              <a:extLst>
                <a:ext uri="{FF2B5EF4-FFF2-40B4-BE49-F238E27FC236}">
                  <a16:creationId xmlns:a16="http://schemas.microsoft.com/office/drawing/2014/main" id="{25543620-6321-A446-A53D-EC0404923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16119" y="646698"/>
              <a:ext cx="2782302" cy="5564603"/>
            </a:xfrm>
            <a:prstGeom prst="rect">
              <a:avLst/>
            </a:prstGeom>
          </p:spPr>
        </p:pic>
      </p:grpSp>
      <p:grpSp>
        <p:nvGrpSpPr>
          <p:cNvPr id="16" name="Groep 15">
            <a:extLst>
              <a:ext uri="{FF2B5EF4-FFF2-40B4-BE49-F238E27FC236}">
                <a16:creationId xmlns:a16="http://schemas.microsoft.com/office/drawing/2014/main" id="{4823AA32-D269-9744-9ECC-AEDC5FE5229D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4CC12C05-94A1-6F47-8ED8-8AEBB39C558D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1" name="Afbeelding 20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9EEA1413-52CC-6A4F-B3D6-ED8E73B03D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90983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FB2DEBE8-6BA6-1347-A2E8-3F7A87F1334B}"/>
              </a:ext>
            </a:extLst>
          </p:cNvPr>
          <p:cNvGrpSpPr/>
          <p:nvPr/>
        </p:nvGrpSpPr>
        <p:grpSpPr>
          <a:xfrm>
            <a:off x="5586133" y="646698"/>
            <a:ext cx="5477377" cy="10954752"/>
            <a:chOff x="6916119" y="646698"/>
            <a:chExt cx="2782302" cy="5564603"/>
          </a:xfrm>
        </p:grpSpPr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9A59F0C4-4B19-6D4C-88E6-AFD6CA5B0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1890" b="8198"/>
            <a:stretch/>
          </p:blipFill>
          <p:spPr>
            <a:xfrm>
              <a:off x="7097184" y="1429232"/>
              <a:ext cx="2420173" cy="4187798"/>
            </a:xfrm>
            <a:prstGeom prst="rect">
              <a:avLst/>
            </a:prstGeom>
          </p:spPr>
        </p:pic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FC581675-A719-804B-B578-DDC1161A18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9671" b="8198"/>
            <a:stretch/>
          </p:blipFill>
          <p:spPr>
            <a:xfrm>
              <a:off x="7097184" y="2885102"/>
              <a:ext cx="2420173" cy="2731927"/>
            </a:xfrm>
            <a:prstGeom prst="rect">
              <a:avLst/>
            </a:prstGeom>
          </p:spPr>
        </p:pic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279DACDD-9B53-8541-A648-3874119513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88111"/>
            <a:stretch/>
          </p:blipFill>
          <p:spPr>
            <a:xfrm>
              <a:off x="7097184" y="806169"/>
              <a:ext cx="2420173" cy="623062"/>
            </a:xfrm>
            <a:prstGeom prst="rect">
              <a:avLst/>
            </a:prstGeom>
          </p:spPr>
        </p:pic>
        <p:pic>
          <p:nvPicPr>
            <p:cNvPr id="13" name="Afbeelding 12">
              <a:extLst>
                <a:ext uri="{FF2B5EF4-FFF2-40B4-BE49-F238E27FC236}">
                  <a16:creationId xmlns:a16="http://schemas.microsoft.com/office/drawing/2014/main" id="{B25B19CC-42A3-6549-8D87-D46B0135DE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91802"/>
            <a:stretch/>
          </p:blipFill>
          <p:spPr>
            <a:xfrm>
              <a:off x="7097184" y="5617029"/>
              <a:ext cx="2420173" cy="429621"/>
            </a:xfrm>
            <a:prstGeom prst="rect">
              <a:avLst/>
            </a:prstGeom>
          </p:spPr>
        </p:pic>
        <p:pic>
          <p:nvPicPr>
            <p:cNvPr id="8" name="Afbeelding 7" descr="Afbeelding met monitor, elektronica, binnen, iPod&#10;&#10;&#10;&#10;Automatisch gegenereerde beschrijving">
              <a:extLst>
                <a:ext uri="{FF2B5EF4-FFF2-40B4-BE49-F238E27FC236}">
                  <a16:creationId xmlns:a16="http://schemas.microsoft.com/office/drawing/2014/main" id="{25543620-6321-A446-A53D-EC04049236B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916119" y="646698"/>
              <a:ext cx="2782302" cy="5564603"/>
            </a:xfrm>
            <a:prstGeom prst="rect">
              <a:avLst/>
            </a:prstGeom>
          </p:spPr>
        </p:pic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62F60FAC-9779-A84E-BD28-D3584BFB3E4C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9" name="Rechthoek 8">
              <a:extLst>
                <a:ext uri="{FF2B5EF4-FFF2-40B4-BE49-F238E27FC236}">
                  <a16:creationId xmlns:a16="http://schemas.microsoft.com/office/drawing/2014/main" id="{4B87C023-4EB4-7D48-A7DF-248C26BC1525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5" name="Afbeelding 4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4F9B24A3-1502-9147-9A5F-ACEA1324C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8251646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 advTm="0">
        <p159:morph option="byObject"/>
      </p:transition>
    </mc:Choice>
    <mc:Fallback xmlns="">
      <p:transition spd="slow" advTm="0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1890" b="8198"/>
          <a:stretch/>
        </p:blipFill>
        <p:spPr>
          <a:xfrm>
            <a:off x="5942586" y="2187233"/>
            <a:ext cx="4764472" cy="8244306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5" name="Afbeelding 4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AAB542FD-D7EE-C940-A923-A59CE788D72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8" name="Afbeelding 7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25543620-6321-A446-A53D-EC04049236B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pic>
        <p:nvPicPr>
          <p:cNvPr id="2" name="Afbeelding 1">
            <a:extLst>
              <a:ext uri="{FF2B5EF4-FFF2-40B4-BE49-F238E27FC236}">
                <a16:creationId xmlns:a16="http://schemas.microsoft.com/office/drawing/2014/main" id="{C4EC3ECA-468A-F847-B55F-2C511DE0C43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4974" y="3651771"/>
            <a:ext cx="2882900" cy="2895600"/>
          </a:xfrm>
          <a:prstGeom prst="rect">
            <a:avLst/>
          </a:prstGeom>
        </p:spPr>
      </p:pic>
      <p:grpSp>
        <p:nvGrpSpPr>
          <p:cNvPr id="15" name="Groep 14">
            <a:extLst>
              <a:ext uri="{FF2B5EF4-FFF2-40B4-BE49-F238E27FC236}">
                <a16:creationId xmlns:a16="http://schemas.microsoft.com/office/drawing/2014/main" id="{3AD90156-2A56-0643-9961-49DBFA0DB8D3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D8306FE2-70FF-3448-AE53-8E2CC9227B6A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7" name="Afbeelding 16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AF24A47E-66D6-3944-A27D-B9919CA2B64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03586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5E-6 2.59259E-6 L -2.5E-6 -0.22431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22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id="{AB2C8CF0-CC15-F34B-AD23-8153701D72EB}"/>
              </a:ext>
            </a:extLst>
          </p:cNvPr>
          <p:cNvGrpSpPr/>
          <p:nvPr/>
        </p:nvGrpSpPr>
        <p:grpSpPr>
          <a:xfrm>
            <a:off x="5942586" y="646028"/>
            <a:ext cx="4764472" cy="8244306"/>
            <a:chOff x="5942586" y="646028"/>
            <a:chExt cx="4764472" cy="8244306"/>
          </a:xfrm>
        </p:grpSpPr>
        <p:pic>
          <p:nvPicPr>
            <p:cNvPr id="14" name="Afbeelding 13">
              <a:extLst>
                <a:ext uri="{FF2B5EF4-FFF2-40B4-BE49-F238E27FC236}">
                  <a16:creationId xmlns:a16="http://schemas.microsoft.com/office/drawing/2014/main" id="{9A59F0C4-4B19-6D4C-88E6-AFD6CA5B0E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11890" b="8198"/>
            <a:stretch/>
          </p:blipFill>
          <p:spPr>
            <a:xfrm>
              <a:off x="5942586" y="646028"/>
              <a:ext cx="4764472" cy="8244306"/>
            </a:xfrm>
            <a:prstGeom prst="rect">
              <a:avLst/>
            </a:prstGeom>
          </p:spPr>
        </p:pic>
        <p:pic>
          <p:nvPicPr>
            <p:cNvPr id="2" name="Afbeelding 1">
              <a:extLst>
                <a:ext uri="{FF2B5EF4-FFF2-40B4-BE49-F238E27FC236}">
                  <a16:creationId xmlns:a16="http://schemas.microsoft.com/office/drawing/2014/main" id="{C4EC3ECA-468A-F847-B55F-2C511DE0C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94974" y="3651771"/>
              <a:ext cx="2882900" cy="28956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157883B5-FB53-3F47-BE72-1FB841FB855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210674" y="4874155"/>
            <a:ext cx="2768600" cy="1879600"/>
          </a:xfrm>
          <a:prstGeom prst="rect">
            <a:avLst/>
          </a:prstGeom>
        </p:spPr>
      </p:pic>
      <p:pic>
        <p:nvPicPr>
          <p:cNvPr id="19" name="Afbeelding 18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35562B0A-29B9-4C4B-88D9-F70B6BE7030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5" name="Afbeelding 14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B2EA0776-18E9-EC4C-86BD-FFDA9DE7270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16" name="Groep 15">
            <a:extLst>
              <a:ext uri="{FF2B5EF4-FFF2-40B4-BE49-F238E27FC236}">
                <a16:creationId xmlns:a16="http://schemas.microsoft.com/office/drawing/2014/main" id="{17B0994B-86A1-674D-B55E-3F38760142B3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4C00BDB1-EC22-5847-A456-3BA946B8BCED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8" name="Afbeelding 17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C7A88637-EE78-884C-895C-A686A7CC55F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54747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0 -0.25 E" pathEditMode="relative" ptsTypes="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373" b="8198"/>
          <a:stretch/>
        </p:blipFill>
        <p:spPr>
          <a:xfrm>
            <a:off x="5942586" y="1804668"/>
            <a:ext cx="4764472" cy="5202587"/>
          </a:xfrm>
          <a:prstGeom prst="rect">
            <a:avLst/>
          </a:prstGeom>
        </p:spPr>
      </p:pic>
      <p:grpSp>
        <p:nvGrpSpPr>
          <p:cNvPr id="6" name="Groep 5">
            <a:extLst>
              <a:ext uri="{FF2B5EF4-FFF2-40B4-BE49-F238E27FC236}">
                <a16:creationId xmlns:a16="http://schemas.microsoft.com/office/drawing/2014/main" id="{AC04D351-AE27-A14D-B065-0E3D2AF663B7}"/>
              </a:ext>
            </a:extLst>
          </p:cNvPr>
          <p:cNvGrpSpPr/>
          <p:nvPr/>
        </p:nvGrpSpPr>
        <p:grpSpPr>
          <a:xfrm>
            <a:off x="6210674" y="1934502"/>
            <a:ext cx="4267200" cy="4819253"/>
            <a:chOff x="6210674" y="1934502"/>
            <a:chExt cx="4267200" cy="4819253"/>
          </a:xfrm>
        </p:grpSpPr>
        <p:pic>
          <p:nvPicPr>
            <p:cNvPr id="2" name="Afbeelding 1">
              <a:extLst>
                <a:ext uri="{FF2B5EF4-FFF2-40B4-BE49-F238E27FC236}">
                  <a16:creationId xmlns:a16="http://schemas.microsoft.com/office/drawing/2014/main" id="{C4EC3ECA-468A-F847-B55F-2C511DE0C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94974" y="1934502"/>
              <a:ext cx="2882900" cy="2895600"/>
            </a:xfrm>
            <a:prstGeom prst="rect">
              <a:avLst/>
            </a:prstGeom>
          </p:spPr>
        </p:pic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157883B5-FB53-3F47-BE72-1FB841FB8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10674" y="4874155"/>
              <a:ext cx="2768600" cy="18796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73C39A4B-C443-E447-84F0-B32E3DD94DF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94974" y="5587551"/>
            <a:ext cx="2882900" cy="1625600"/>
          </a:xfrm>
          <a:prstGeom prst="rect">
            <a:avLst/>
          </a:prstGeom>
        </p:spPr>
      </p:pic>
      <p:pic>
        <p:nvPicPr>
          <p:cNvPr id="19" name="Afbeelding 18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9B5DDE22-1A2E-2E4C-83AB-B48B6EB65A2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5" name="Afbeelding 14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E44937C0-0E1B-6D4D-9761-F89B1DFADB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16" name="Groep 15">
            <a:extLst>
              <a:ext uri="{FF2B5EF4-FFF2-40B4-BE49-F238E27FC236}">
                <a16:creationId xmlns:a16="http://schemas.microsoft.com/office/drawing/2014/main" id="{5F7AF400-75E0-BE48-BC8B-4A91CE10025A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7" name="Rechthoek 16">
              <a:extLst>
                <a:ext uri="{FF2B5EF4-FFF2-40B4-BE49-F238E27FC236}">
                  <a16:creationId xmlns:a16="http://schemas.microsoft.com/office/drawing/2014/main" id="{E2FD6885-17CF-C946-9EC7-A87DA315E19A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8" name="Afbeelding 17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B2F741FE-89BB-FE49-AE3F-409788413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42098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E-6 -3.33333E-6 L -0.00039 -0.17893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-895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373" b="8198"/>
          <a:stretch/>
        </p:blipFill>
        <p:spPr>
          <a:xfrm>
            <a:off x="5942586" y="1804668"/>
            <a:ext cx="4764472" cy="5202587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id="{CA9FC778-79C3-B845-ABED-D8669CA321BE}"/>
              </a:ext>
            </a:extLst>
          </p:cNvPr>
          <p:cNvGrpSpPr/>
          <p:nvPr/>
        </p:nvGrpSpPr>
        <p:grpSpPr>
          <a:xfrm>
            <a:off x="6205166" y="712102"/>
            <a:ext cx="4272708" cy="6501049"/>
            <a:chOff x="6205166" y="712102"/>
            <a:chExt cx="4272708" cy="6501049"/>
          </a:xfrm>
        </p:grpSpPr>
        <p:pic>
          <p:nvPicPr>
            <p:cNvPr id="2" name="Afbeelding 1">
              <a:extLst>
                <a:ext uri="{FF2B5EF4-FFF2-40B4-BE49-F238E27FC236}">
                  <a16:creationId xmlns:a16="http://schemas.microsoft.com/office/drawing/2014/main" id="{C4EC3ECA-468A-F847-B55F-2C511DE0C43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89466" y="712102"/>
              <a:ext cx="2882900" cy="2895600"/>
            </a:xfrm>
            <a:prstGeom prst="rect">
              <a:avLst/>
            </a:prstGeom>
          </p:spPr>
        </p:pic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157883B5-FB53-3F47-BE72-1FB841FB855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05166" y="3651755"/>
              <a:ext cx="2768600" cy="1879600"/>
            </a:xfrm>
            <a:prstGeom prst="rect">
              <a:avLst/>
            </a:prstGeom>
          </p:spPr>
        </p:pic>
        <p:pic>
          <p:nvPicPr>
            <p:cNvPr id="7" name="Afbeelding 6">
              <a:extLst>
                <a:ext uri="{FF2B5EF4-FFF2-40B4-BE49-F238E27FC236}">
                  <a16:creationId xmlns:a16="http://schemas.microsoft.com/office/drawing/2014/main" id="{73C39A4B-C443-E447-84F0-B32E3DD94DF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594974" y="5587551"/>
              <a:ext cx="2882900" cy="16256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994728CE-D5C8-6545-A3E2-4A6C3A9C04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5166" y="3329337"/>
            <a:ext cx="2768600" cy="3429000"/>
          </a:xfrm>
          <a:prstGeom prst="rect">
            <a:avLst/>
          </a:prstGeom>
        </p:spPr>
      </p:pic>
      <p:pic>
        <p:nvPicPr>
          <p:cNvPr id="21" name="Afbeelding 20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75FC239F-480C-5846-8CE5-E391A2FA9F82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6" name="Afbeelding 15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1C834F00-D6DC-7840-8BF8-28BE4C4E696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17" name="Groep 16">
            <a:extLst>
              <a:ext uri="{FF2B5EF4-FFF2-40B4-BE49-F238E27FC236}">
                <a16:creationId xmlns:a16="http://schemas.microsoft.com/office/drawing/2014/main" id="{9C061AD3-6FE0-1646-BF44-D5AC2AC833FB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8" name="Rechthoek 17">
              <a:extLst>
                <a:ext uri="{FF2B5EF4-FFF2-40B4-BE49-F238E27FC236}">
                  <a16:creationId xmlns:a16="http://schemas.microsoft.com/office/drawing/2014/main" id="{D312E969-9A07-3E44-958D-7EB4F82436D5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19" name="Afbeelding 18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FA80938A-7EB6-344A-8E4A-AE6858735BE7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997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22222E-6 L -4.58333E-6 -0.48357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41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B7BA22-FE1A-45F2-B32D-299B0189B6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B7BA22-FE1A-45F2-B32D-299B0189B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 hidden="1">
            <a:extLst>
              <a:ext uri="{FF2B5EF4-FFF2-40B4-BE49-F238E27FC236}">
                <a16:creationId xmlns:a16="http://schemas.microsoft.com/office/drawing/2014/main" id="{9C701A39-2520-4767-A6B1-3C5C740B1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nl-NL" dirty="0">
              <a:latin typeface="Euclid Flex RTL Bold" panose="020B0800030000000000" pitchFamily="34" charset="0"/>
              <a:ea typeface="+mj-ea"/>
              <a:cs typeface="+mj-cs"/>
              <a:sym typeface="Euclid Flex RTL Bold" panose="020B0800030000000000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3B08C36-91AA-4D82-A241-260F11E2E4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4" y="1241"/>
            <a:ext cx="12187592" cy="6855519"/>
          </a:xfrm>
          <a:prstGeom prst="rect">
            <a:avLst/>
          </a:prstGeom>
        </p:spPr>
      </p:pic>
      <p:sp>
        <p:nvSpPr>
          <p:cNvPr id="4" name="Rechthoek 3">
            <a:extLst>
              <a:ext uri="{FF2B5EF4-FFF2-40B4-BE49-F238E27FC236}">
                <a16:creationId xmlns:a16="http://schemas.microsoft.com/office/drawing/2014/main" id="{98382E57-90FD-4E96-B4CD-BA42A50F174B}"/>
              </a:ext>
            </a:extLst>
          </p:cNvPr>
          <p:cNvSpPr/>
          <p:nvPr/>
        </p:nvSpPr>
        <p:spPr>
          <a:xfrm>
            <a:off x="0" y="0"/>
            <a:ext cx="12192000" cy="6855519"/>
          </a:xfrm>
          <a:prstGeom prst="rect">
            <a:avLst/>
          </a:prstGeom>
          <a:solidFill>
            <a:srgbClr val="E300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800" dirty="0"/>
          </a:p>
        </p:txBody>
      </p:sp>
      <p:pic>
        <p:nvPicPr>
          <p:cNvPr id="18436" name="Picture 4" descr="Gerelateerde afbeelding">
            <a:extLst>
              <a:ext uri="{FF2B5EF4-FFF2-40B4-BE49-F238E27FC236}">
                <a16:creationId xmlns:a16="http://schemas.microsoft.com/office/drawing/2014/main" id="{69B15794-24A5-4194-AB01-A238278F36C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91" t="11069" r="1762" b="9048"/>
          <a:stretch/>
        </p:blipFill>
        <p:spPr bwMode="auto">
          <a:xfrm>
            <a:off x="2709792" y="2752928"/>
            <a:ext cx="6772416" cy="1070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4F1E7D6B-1AF1-4DAD-9A42-9977882E774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5114" y="6113317"/>
            <a:ext cx="744682" cy="74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04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373" b="8198"/>
          <a:stretch/>
        </p:blipFill>
        <p:spPr>
          <a:xfrm>
            <a:off x="5942586" y="1804668"/>
            <a:ext cx="4764472" cy="5202587"/>
          </a:xfrm>
          <a:prstGeom prst="rect">
            <a:avLst/>
          </a:prstGeom>
        </p:spPr>
      </p:pic>
      <p:grpSp>
        <p:nvGrpSpPr>
          <p:cNvPr id="6" name="Groep 5">
            <a:extLst>
              <a:ext uri="{FF2B5EF4-FFF2-40B4-BE49-F238E27FC236}">
                <a16:creationId xmlns:a16="http://schemas.microsoft.com/office/drawing/2014/main" id="{9E93DAC7-9EB0-AB41-A402-FA6ABB6C7A43}"/>
              </a:ext>
            </a:extLst>
          </p:cNvPr>
          <p:cNvGrpSpPr/>
          <p:nvPr/>
        </p:nvGrpSpPr>
        <p:grpSpPr>
          <a:xfrm>
            <a:off x="6205166" y="-2603827"/>
            <a:ext cx="4272708" cy="9362164"/>
            <a:chOff x="6205166" y="-2603827"/>
            <a:chExt cx="4272708" cy="9362164"/>
          </a:xfrm>
        </p:grpSpPr>
        <p:grpSp>
          <p:nvGrpSpPr>
            <p:cNvPr id="3" name="Groep 2">
              <a:extLst>
                <a:ext uri="{FF2B5EF4-FFF2-40B4-BE49-F238E27FC236}">
                  <a16:creationId xmlns:a16="http://schemas.microsoft.com/office/drawing/2014/main" id="{CA9FC778-79C3-B845-ABED-D8669CA321BE}"/>
                </a:ext>
              </a:extLst>
            </p:cNvPr>
            <p:cNvGrpSpPr/>
            <p:nvPr/>
          </p:nvGrpSpPr>
          <p:grpSpPr>
            <a:xfrm>
              <a:off x="6205166" y="-2603827"/>
              <a:ext cx="4272708" cy="6501049"/>
              <a:chOff x="6205166" y="712102"/>
              <a:chExt cx="4272708" cy="6501049"/>
            </a:xfrm>
          </p:grpSpPr>
          <p:pic>
            <p:nvPicPr>
              <p:cNvPr id="2" name="Afbeelding 1">
                <a:extLst>
                  <a:ext uri="{FF2B5EF4-FFF2-40B4-BE49-F238E27FC236}">
                    <a16:creationId xmlns:a16="http://schemas.microsoft.com/office/drawing/2014/main" id="{C4EC3ECA-468A-F847-B55F-2C511DE0C43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89466" y="712102"/>
                <a:ext cx="2882900" cy="2895600"/>
              </a:xfrm>
              <a:prstGeom prst="rect">
                <a:avLst/>
              </a:prstGeom>
            </p:spPr>
          </p:pic>
          <p:pic>
            <p:nvPicPr>
              <p:cNvPr id="5" name="Afbeelding 4">
                <a:extLst>
                  <a:ext uri="{FF2B5EF4-FFF2-40B4-BE49-F238E27FC236}">
                    <a16:creationId xmlns:a16="http://schemas.microsoft.com/office/drawing/2014/main" id="{157883B5-FB53-3F47-BE72-1FB841FB8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6205166" y="3651755"/>
                <a:ext cx="2768600" cy="1879600"/>
              </a:xfrm>
              <a:prstGeom prst="rect">
                <a:avLst/>
              </a:prstGeom>
            </p:spPr>
          </p:pic>
          <p:pic>
            <p:nvPicPr>
              <p:cNvPr id="7" name="Afbeelding 6">
                <a:extLst>
                  <a:ext uri="{FF2B5EF4-FFF2-40B4-BE49-F238E27FC236}">
                    <a16:creationId xmlns:a16="http://schemas.microsoft.com/office/drawing/2014/main" id="{73C39A4B-C443-E447-84F0-B32E3DD94D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7594974" y="5587551"/>
                <a:ext cx="2882900" cy="1625600"/>
              </a:xfrm>
              <a:prstGeom prst="rect">
                <a:avLst/>
              </a:prstGeom>
            </p:spPr>
          </p:pic>
        </p:grpSp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994728CE-D5C8-6545-A3E2-4A6C3A9C0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205166" y="3329337"/>
              <a:ext cx="2768600" cy="34290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497E9891-7E96-C44A-9110-58D69B0A6F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589466" y="4877355"/>
            <a:ext cx="2882900" cy="1739900"/>
          </a:xfrm>
          <a:prstGeom prst="rect">
            <a:avLst/>
          </a:prstGeom>
        </p:spPr>
      </p:pic>
      <p:pic>
        <p:nvPicPr>
          <p:cNvPr id="22" name="Afbeelding 21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0B232397-980C-B342-8AEB-DCD9AD89E03D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7" name="Afbeelding 16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2662B031-1EB2-3041-95F2-55F27EE03F9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18" name="Groep 17">
            <a:extLst>
              <a:ext uri="{FF2B5EF4-FFF2-40B4-BE49-F238E27FC236}">
                <a16:creationId xmlns:a16="http://schemas.microsoft.com/office/drawing/2014/main" id="{A9C7E81D-0EBC-4541-A5D4-605A2DB0F243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19" name="Rechthoek 18">
              <a:extLst>
                <a:ext uri="{FF2B5EF4-FFF2-40B4-BE49-F238E27FC236}">
                  <a16:creationId xmlns:a16="http://schemas.microsoft.com/office/drawing/2014/main" id="{B832142C-C716-7E45-BF7C-7131911B2FC6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1" name="Afbeelding 20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9E795C61-7C6F-6F43-A32A-3292F04C355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52462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2.22222E-6 L -4.58333E-6 -0.27755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388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373" b="8198"/>
          <a:stretch/>
        </p:blipFill>
        <p:spPr>
          <a:xfrm>
            <a:off x="5942586" y="1804668"/>
            <a:ext cx="4764472" cy="5202587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grpSp>
        <p:nvGrpSpPr>
          <p:cNvPr id="16" name="Groep 15">
            <a:extLst>
              <a:ext uri="{FF2B5EF4-FFF2-40B4-BE49-F238E27FC236}">
                <a16:creationId xmlns:a16="http://schemas.microsoft.com/office/drawing/2014/main" id="{2148F51E-A801-6948-B3EB-D73B04CB396A}"/>
              </a:ext>
            </a:extLst>
          </p:cNvPr>
          <p:cNvGrpSpPr/>
          <p:nvPr/>
        </p:nvGrpSpPr>
        <p:grpSpPr>
          <a:xfrm>
            <a:off x="6205166" y="1426135"/>
            <a:ext cx="4267200" cy="5191120"/>
            <a:chOff x="6205166" y="1426135"/>
            <a:chExt cx="4267200" cy="5191120"/>
          </a:xfrm>
        </p:grpSpPr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994728CE-D5C8-6545-A3E2-4A6C3A9C044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205166" y="1426135"/>
              <a:ext cx="2768600" cy="3429000"/>
            </a:xfrm>
            <a:prstGeom prst="rect">
              <a:avLst/>
            </a:prstGeom>
          </p:spPr>
        </p:pic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497E9891-7E96-C44A-9110-58D69B0A6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589466" y="4877355"/>
              <a:ext cx="2882900" cy="17399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17" name="Afbeelding 16">
            <a:extLst>
              <a:ext uri="{FF2B5EF4-FFF2-40B4-BE49-F238E27FC236}">
                <a16:creationId xmlns:a16="http://schemas.microsoft.com/office/drawing/2014/main" id="{0CAE3840-B6E2-EF46-8F8C-4751483FB74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08923" y="2802943"/>
            <a:ext cx="2768600" cy="3937000"/>
          </a:xfrm>
          <a:prstGeom prst="rect">
            <a:avLst/>
          </a:prstGeom>
        </p:spPr>
      </p:pic>
      <p:pic>
        <p:nvPicPr>
          <p:cNvPr id="18" name="Afbeelding 17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9EB01FAD-2F56-6941-A05E-14FC4899981B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9" name="Afbeelding 18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DB01D4AB-1C39-B446-9162-BF974184477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8760ADC6-D1B4-2043-876B-98939E112ADB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4A4F31E6-34A1-8445-8BA0-913E87897F22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3" name="Afbeelding 22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17328AE0-E4BD-CB4C-B063-B8660A3942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332669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-2.59259E-6 L -4.375E-6 -0.58634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932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hoek 19">
            <a:extLst>
              <a:ext uri="{FF2B5EF4-FFF2-40B4-BE49-F238E27FC236}">
                <a16:creationId xmlns:a16="http://schemas.microsoft.com/office/drawing/2014/main" id="{D7FC74C3-3226-604B-8FA5-4323EFC42A70}"/>
              </a:ext>
            </a:extLst>
          </p:cNvPr>
          <p:cNvSpPr/>
          <p:nvPr/>
        </p:nvSpPr>
        <p:spPr>
          <a:xfrm>
            <a:off x="0" y="4769911"/>
            <a:ext cx="12192000" cy="2088089"/>
          </a:xfrm>
          <a:prstGeom prst="rect">
            <a:avLst/>
          </a:prstGeom>
          <a:solidFill>
            <a:schemeClr val="tx1">
              <a:lumMod val="95000"/>
              <a:lumOff val="5000"/>
              <a:alpha val="49000"/>
            </a:schemeClr>
          </a:solidFill>
          <a:ln>
            <a:noFill/>
          </a:ln>
          <a:effectLst>
            <a:reflection endPos="0" dist="50800" dir="5400000" sy="-100000" algn="bl" rotWithShape="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9A59F0C4-4B19-6D4C-88E6-AFD6CA5B0E78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41373" b="8198"/>
          <a:stretch/>
        </p:blipFill>
        <p:spPr>
          <a:xfrm>
            <a:off x="5942586" y="1804668"/>
            <a:ext cx="4764472" cy="5202587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FC581675-A719-804B-B578-DDC1161A18D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9671" b="8198"/>
          <a:stretch/>
        </p:blipFill>
        <p:spPr>
          <a:xfrm>
            <a:off x="5942586" y="5053331"/>
            <a:ext cx="4764472" cy="5378206"/>
          </a:xfrm>
          <a:prstGeom prst="rect">
            <a:avLst/>
          </a:prstGeom>
        </p:spPr>
      </p:pic>
      <p:grpSp>
        <p:nvGrpSpPr>
          <p:cNvPr id="2" name="Groep 1">
            <a:extLst>
              <a:ext uri="{FF2B5EF4-FFF2-40B4-BE49-F238E27FC236}">
                <a16:creationId xmlns:a16="http://schemas.microsoft.com/office/drawing/2014/main" id="{3CCA711E-102B-6C4F-984B-66B2C94EDFA8}"/>
              </a:ext>
            </a:extLst>
          </p:cNvPr>
          <p:cNvGrpSpPr/>
          <p:nvPr/>
        </p:nvGrpSpPr>
        <p:grpSpPr>
          <a:xfrm>
            <a:off x="6208923" y="855971"/>
            <a:ext cx="4263443" cy="5883972"/>
            <a:chOff x="6208923" y="855971"/>
            <a:chExt cx="4263443" cy="5883972"/>
          </a:xfrm>
        </p:grpSpPr>
        <p:pic>
          <p:nvPicPr>
            <p:cNvPr id="15" name="Afbeelding 14">
              <a:extLst>
                <a:ext uri="{FF2B5EF4-FFF2-40B4-BE49-F238E27FC236}">
                  <a16:creationId xmlns:a16="http://schemas.microsoft.com/office/drawing/2014/main" id="{497E9891-7E96-C44A-9110-58D69B0A6FD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89466" y="855971"/>
              <a:ext cx="2882900" cy="1739900"/>
            </a:xfrm>
            <a:prstGeom prst="rect">
              <a:avLst/>
            </a:prstGeom>
          </p:spPr>
        </p:pic>
        <p:pic>
          <p:nvPicPr>
            <p:cNvPr id="17" name="Afbeelding 16">
              <a:extLst>
                <a:ext uri="{FF2B5EF4-FFF2-40B4-BE49-F238E27FC236}">
                  <a16:creationId xmlns:a16="http://schemas.microsoft.com/office/drawing/2014/main" id="{0CAE3840-B6E2-EF46-8F8C-4751483FB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208923" y="2802943"/>
              <a:ext cx="2768600" cy="3937000"/>
            </a:xfrm>
            <a:prstGeom prst="rect">
              <a:avLst/>
            </a:prstGeom>
          </p:spPr>
        </p:pic>
      </p:grp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79DACDD-9B53-8541-A648-387411951396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88111"/>
          <a:stretch/>
        </p:blipFill>
        <p:spPr>
          <a:xfrm>
            <a:off x="5942586" y="960640"/>
            <a:ext cx="4764472" cy="1226591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B25B19CC-42A3-6549-8D87-D46B0135DE2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91802"/>
          <a:stretch/>
        </p:blipFill>
        <p:spPr>
          <a:xfrm>
            <a:off x="5942586" y="10431537"/>
            <a:ext cx="4764472" cy="845773"/>
          </a:xfrm>
          <a:prstGeom prst="rect">
            <a:avLst/>
          </a:prstGeom>
        </p:spPr>
      </p:pic>
      <p:pic>
        <p:nvPicPr>
          <p:cNvPr id="3" name="Afbeelding 2">
            <a:extLst>
              <a:ext uri="{FF2B5EF4-FFF2-40B4-BE49-F238E27FC236}">
                <a16:creationId xmlns:a16="http://schemas.microsoft.com/office/drawing/2014/main" id="{997564B7-2BE4-FE45-8435-54F8F822AE6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89466" y="5445954"/>
            <a:ext cx="2882900" cy="1371600"/>
          </a:xfrm>
          <a:prstGeom prst="rect">
            <a:avLst/>
          </a:prstGeom>
        </p:spPr>
      </p:pic>
      <p:pic>
        <p:nvPicPr>
          <p:cNvPr id="16" name="Afbeelding 15" descr="Afbeelding met binnen&#10;&#10;&#10;&#10;Automatisch gegenereerde beschrijving">
            <a:extLst>
              <a:ext uri="{FF2B5EF4-FFF2-40B4-BE49-F238E27FC236}">
                <a16:creationId xmlns:a16="http://schemas.microsoft.com/office/drawing/2014/main" id="{CB4AF393-8AAA-054E-9A40-09DFC860928D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35897"/>
          <a:stretch/>
        </p:blipFill>
        <p:spPr>
          <a:xfrm>
            <a:off x="5651500" y="0"/>
            <a:ext cx="6540500" cy="960638"/>
          </a:xfrm>
          <a:prstGeom prst="rect">
            <a:avLst/>
          </a:prstGeom>
        </p:spPr>
      </p:pic>
      <p:pic>
        <p:nvPicPr>
          <p:cNvPr id="18" name="Afbeelding 17" descr="Afbeelding met monitor, elektronica, binnen, iPod&#10;&#10;&#10;&#10;Automatisch gegenereerde beschrijving">
            <a:extLst>
              <a:ext uri="{FF2B5EF4-FFF2-40B4-BE49-F238E27FC236}">
                <a16:creationId xmlns:a16="http://schemas.microsoft.com/office/drawing/2014/main" id="{5A890043-6C88-8B49-941A-C420D59A720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586133" y="646698"/>
            <a:ext cx="5477377" cy="10954752"/>
          </a:xfrm>
          <a:prstGeom prst="rect">
            <a:avLst/>
          </a:prstGeom>
        </p:spPr>
      </p:pic>
      <p:grpSp>
        <p:nvGrpSpPr>
          <p:cNvPr id="21" name="Groep 20">
            <a:extLst>
              <a:ext uri="{FF2B5EF4-FFF2-40B4-BE49-F238E27FC236}">
                <a16:creationId xmlns:a16="http://schemas.microsoft.com/office/drawing/2014/main" id="{977F99CC-ABB3-1E41-80C5-8A39E5F2367D}"/>
              </a:ext>
            </a:extLst>
          </p:cNvPr>
          <p:cNvGrpSpPr/>
          <p:nvPr/>
        </p:nvGrpSpPr>
        <p:grpSpPr>
          <a:xfrm>
            <a:off x="843947" y="1869387"/>
            <a:ext cx="3928219" cy="2056764"/>
            <a:chOff x="828957" y="1869387"/>
            <a:chExt cx="3928219" cy="2056764"/>
          </a:xfrm>
        </p:grpSpPr>
        <p:sp>
          <p:nvSpPr>
            <p:cNvPr id="22" name="Rechthoek 21">
              <a:extLst>
                <a:ext uri="{FF2B5EF4-FFF2-40B4-BE49-F238E27FC236}">
                  <a16:creationId xmlns:a16="http://schemas.microsoft.com/office/drawing/2014/main" id="{268ADECE-27DC-4744-A02F-1AC45C6C91DA}"/>
                </a:ext>
              </a:extLst>
            </p:cNvPr>
            <p:cNvSpPr/>
            <p:nvPr/>
          </p:nvSpPr>
          <p:spPr>
            <a:xfrm>
              <a:off x="828957" y="2910488"/>
              <a:ext cx="3928219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>
                <a:defRPr/>
              </a:pPr>
              <a:r>
                <a:rPr lang="nl-NL" sz="6000" kern="0" cap="all" dirty="0">
                  <a:solidFill>
                    <a:srgbClr val="FFFFFF"/>
                  </a:solidFill>
                  <a:latin typeface="Euclid Flex RTL Bold" charset="0"/>
                </a:rPr>
                <a:t>Chatbot</a:t>
              </a:r>
              <a:endParaRPr lang="nl-NL" sz="6000" kern="0" dirty="0">
                <a:solidFill>
                  <a:sysClr val="windowText" lastClr="000000"/>
                </a:solidFill>
              </a:endParaRPr>
            </a:p>
          </p:txBody>
        </p:sp>
        <p:pic>
          <p:nvPicPr>
            <p:cNvPr id="23" name="Afbeelding 22" descr="Afbeelding met object&#10;&#10;&#10;&#10;Automatisch gegenereerde beschrijving">
              <a:extLst>
                <a:ext uri="{FF2B5EF4-FFF2-40B4-BE49-F238E27FC236}">
                  <a16:creationId xmlns:a16="http://schemas.microsoft.com/office/drawing/2014/main" id="{8FA01312-8D3F-CE46-BA4A-B51337B111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327434" y="1869387"/>
              <a:ext cx="1130209" cy="116160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33589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58333E-6 -3.7037E-6 L -4.58333E-6 -0.20277 " pathEditMode="relative" rAng="0" ptsTypes="AA">
                                      <p:cBhvr>
                                        <p:cTn id="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0139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">
            <a:extLst>
              <a:ext uri="{FF2B5EF4-FFF2-40B4-BE49-F238E27FC236}">
                <a16:creationId xmlns:a16="http://schemas.microsoft.com/office/drawing/2014/main" id="{DE2C2AFB-8907-45A8-B1DD-1D32734CE26B}"/>
              </a:ext>
            </a:extLst>
          </p:cNvPr>
          <p:cNvSpPr/>
          <p:nvPr/>
        </p:nvSpPr>
        <p:spPr>
          <a:xfrm>
            <a:off x="3135809" y="4806993"/>
            <a:ext cx="592038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0" b="0" i="0" u="none" strike="noStrike" kern="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clid Flex RTL Bold" charset="0"/>
              </a:rPr>
              <a:t>Vragen? </a:t>
            </a:r>
            <a:endParaRPr kumimoji="0" lang="nl-NL" sz="8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3610744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B7BA22-FE1A-45F2-B32D-299B0189B6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B7BA22-FE1A-45F2-B32D-299B0189B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 hidden="1">
            <a:extLst>
              <a:ext uri="{FF2B5EF4-FFF2-40B4-BE49-F238E27FC236}">
                <a16:creationId xmlns:a16="http://schemas.microsoft.com/office/drawing/2014/main" id="{9C701A39-2520-4767-A6B1-3C5C740B1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4399" dirty="0">
              <a:latin typeface="Euclid Flex RTL Bold" panose="020B0800030000000000" pitchFamily="34" charset="0"/>
              <a:ea typeface="+mj-ea"/>
              <a:cs typeface="+mj-cs"/>
              <a:sym typeface="Euclid Flex RTL Bold" panose="020B0800030000000000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3B08C36-91AA-4D82-A241-260F11E2E4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4" y="1241"/>
            <a:ext cx="12187592" cy="6855519"/>
          </a:xfrm>
          <a:prstGeom prst="rect">
            <a:avLst/>
          </a:prstGeom>
        </p:spPr>
      </p:pic>
      <p:pic>
        <p:nvPicPr>
          <p:cNvPr id="20482" name="Picture 2" descr="Afbeeldingsresultaat voor videoland winkel">
            <a:extLst>
              <a:ext uri="{FF2B5EF4-FFF2-40B4-BE49-F238E27FC236}">
                <a16:creationId xmlns:a16="http://schemas.microsoft.com/office/drawing/2014/main" id="{9A84A34C-EE77-4F5B-BCED-53174982476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563"/>
          <a:stretch/>
        </p:blipFill>
        <p:spPr bwMode="auto">
          <a:xfrm>
            <a:off x="0" y="1"/>
            <a:ext cx="12192000" cy="6855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2BFAEEC7-9B5F-47D5-819A-367D3FC594D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5114" y="6113317"/>
            <a:ext cx="744682" cy="74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798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B7BA22-FE1A-45F2-B32D-299B0189B6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B7BA22-FE1A-45F2-B32D-299B0189B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 hidden="1">
            <a:extLst>
              <a:ext uri="{FF2B5EF4-FFF2-40B4-BE49-F238E27FC236}">
                <a16:creationId xmlns:a16="http://schemas.microsoft.com/office/drawing/2014/main" id="{9C701A39-2520-4767-A6B1-3C5C740B1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4399" dirty="0">
              <a:latin typeface="Euclid Flex RTL Bold" panose="020B0800030000000000" pitchFamily="34" charset="0"/>
              <a:ea typeface="+mj-ea"/>
              <a:cs typeface="+mj-cs"/>
              <a:sym typeface="Euclid Flex RTL Bold" panose="020B0800030000000000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3B08C36-91AA-4D82-A241-260F11E2E4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4" y="1241"/>
            <a:ext cx="12187592" cy="6855519"/>
          </a:xfrm>
          <a:prstGeom prst="rect">
            <a:avLst/>
          </a:prstGeom>
        </p:spPr>
      </p:pic>
      <p:pic>
        <p:nvPicPr>
          <p:cNvPr id="4" name="Afbeelding 3">
            <a:extLst>
              <a:ext uri="{FF2B5EF4-FFF2-40B4-BE49-F238E27FC236}">
                <a16:creationId xmlns:a16="http://schemas.microsoft.com/office/drawing/2014/main" id="{4D604A1C-11BF-423C-8A75-97B4E32CF7A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-119695" y="0"/>
            <a:ext cx="12311695" cy="6855518"/>
          </a:xfrm>
          <a:prstGeom prst="rect">
            <a:avLst/>
          </a:prstGeom>
        </p:spPr>
      </p:pic>
      <p:pic>
        <p:nvPicPr>
          <p:cNvPr id="8" name="Afbeelding 7">
            <a:extLst>
              <a:ext uri="{FF2B5EF4-FFF2-40B4-BE49-F238E27FC236}">
                <a16:creationId xmlns:a16="http://schemas.microsoft.com/office/drawing/2014/main" id="{B263FA1F-DCF9-4BE6-BE0C-FE4F3379ECE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5114" y="6113317"/>
            <a:ext cx="744682" cy="74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12579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BB7BA22-FE1A-45F2-B32D-299B0189B60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792" y="1587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BB7BA22-FE1A-45F2-B32D-299B0189B6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792" y="1587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hoek 2" hidden="1">
            <a:extLst>
              <a:ext uri="{FF2B5EF4-FFF2-40B4-BE49-F238E27FC236}">
                <a16:creationId xmlns:a16="http://schemas.microsoft.com/office/drawing/2014/main" id="{9C701A39-2520-4767-A6B1-3C5C740B131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205" y="0"/>
            <a:ext cx="158713" cy="15871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IN" sz="4399" dirty="0">
              <a:latin typeface="Euclid Flex RTL Bold" panose="020B0800030000000000" pitchFamily="34" charset="0"/>
              <a:ea typeface="+mj-ea"/>
              <a:cs typeface="+mj-cs"/>
              <a:sym typeface="Euclid Flex RTL Bold" panose="020B0800030000000000" pitchFamily="34" charset="0"/>
            </a:endParaRPr>
          </a:p>
        </p:txBody>
      </p:sp>
      <p:pic>
        <p:nvPicPr>
          <p:cNvPr id="2" name="Afbeelding 1">
            <a:extLst>
              <a:ext uri="{FF2B5EF4-FFF2-40B4-BE49-F238E27FC236}">
                <a16:creationId xmlns:a16="http://schemas.microsoft.com/office/drawing/2014/main" id="{E3B08C36-91AA-4D82-A241-260F11E2E4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204" y="1241"/>
            <a:ext cx="12187592" cy="6855519"/>
          </a:xfrm>
          <a:prstGeom prst="rect">
            <a:avLst/>
          </a:prstGeom>
        </p:spPr>
      </p:pic>
      <p:sp>
        <p:nvSpPr>
          <p:cNvPr id="69" name="Tijdelijke aanduiding voor inhoud 3">
            <a:extLst>
              <a:ext uri="{FF2B5EF4-FFF2-40B4-BE49-F238E27FC236}">
                <a16:creationId xmlns:a16="http://schemas.microsoft.com/office/drawing/2014/main" id="{659DBBF7-0F4A-464B-B376-A336D9C72B8E}"/>
              </a:ext>
            </a:extLst>
          </p:cNvPr>
          <p:cNvSpPr txBox="1">
            <a:spLocks/>
          </p:cNvSpPr>
          <p:nvPr/>
        </p:nvSpPr>
        <p:spPr bwMode="gray">
          <a:xfrm>
            <a:off x="256289" y="374726"/>
            <a:ext cx="11591785" cy="962365"/>
          </a:xfrm>
          <a:prstGeom prst="rect">
            <a:avLst/>
          </a:prstGeom>
        </p:spPr>
        <p:txBody>
          <a:bodyPr vert="horz" lIns="66892" tIns="33445" rIns="66892" bIns="33445" rtlCol="0" anchor="b">
            <a:noAutofit/>
          </a:bodyPr>
          <a:lstStyle>
            <a:lvl1pPr marL="0" marR="0" indent="0" algn="l" defTabSz="360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bg2"/>
              </a:buClr>
              <a:buSzPct val="100000"/>
              <a:buFont typeface="+mj-lt"/>
              <a:buNone/>
              <a:tabLst/>
              <a:defRPr kumimoji="0" lang="en-GB" sz="2400" b="1" i="0" u="none" strike="noStrike" kern="1200" cap="none" spc="-3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defRPr>
            </a:lvl1pPr>
            <a:lvl2pPr marL="792707" marR="0" indent="-252225" algn="l" defTabSz="576000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>
                <a:tab pos="990600" algn="l"/>
              </a:tabLst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792707" marR="0" indent="-252225" algn="l" defTabSz="968665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792707" marR="0" indent="-252225" algn="l" defTabSz="576000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lang="nl-NL" sz="12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92707" marR="0" indent="-252225" algn="l" defTabSz="576000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lang="nl-NL" sz="1200" b="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92707" marR="0" indent="-252225" algn="l" defTabSz="968665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sz="12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707" marR="0" indent="-252225" algn="l" defTabSz="968665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92707" marR="0" indent="-252225" algn="l" defTabSz="968665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/>
              <a:defRPr sz="1200" b="0" i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92707" marR="0" indent="-252225" algn="l" defTabSz="577850" rtl="0" eaLnBrk="1" fontAlgn="auto" latinLnBrk="0" hangingPunct="1">
              <a:lnSpc>
                <a:spcPct val="100000"/>
              </a:lnSpc>
              <a:spcBef>
                <a:spcPts val="1001"/>
              </a:spcBef>
              <a:spcAft>
                <a:spcPts val="0"/>
              </a:spcAft>
              <a:buClr>
                <a:schemeClr val="tx2"/>
              </a:buClr>
              <a:buSzPct val="80000"/>
              <a:buFont typeface="Wingdings" panose="05000000000000000000" pitchFamily="2" charset="2"/>
              <a:buChar char=""/>
              <a:tabLst>
                <a:tab pos="1971675" algn="l"/>
              </a:tabLst>
              <a:defRPr sz="1200" b="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3999" b="0" dirty="0">
                <a:solidFill>
                  <a:schemeClr val="tx2">
                    <a:lumMod val="50000"/>
                  </a:schemeClr>
                </a:solidFill>
                <a:latin typeface="Euclid Flex RTL Medium" panose="020B0600030000000000" pitchFamily="34" charset="0"/>
              </a:rPr>
              <a:t>Offer a </a:t>
            </a:r>
            <a:r>
              <a:rPr lang="nl-NL" sz="3999" b="0" dirty="0" err="1">
                <a:solidFill>
                  <a:schemeClr val="tx2">
                    <a:lumMod val="50000"/>
                  </a:schemeClr>
                </a:solidFill>
                <a:latin typeface="Euclid Flex RTL Bold" panose="020B0800030000000000" pitchFamily="34" charset="0"/>
              </a:rPr>
              <a:t>unique</a:t>
            </a:r>
            <a:r>
              <a:rPr lang="nl-NL" sz="3999" b="0" dirty="0">
                <a:solidFill>
                  <a:schemeClr val="tx2">
                    <a:lumMod val="50000"/>
                  </a:schemeClr>
                </a:solidFill>
                <a:latin typeface="Euclid Flex RTL Bold" panose="020B0800030000000000" pitchFamily="34" charset="0"/>
              </a:rPr>
              <a:t> streaming </a:t>
            </a:r>
            <a:r>
              <a:rPr lang="nl-NL" sz="3999" b="0" dirty="0" err="1">
                <a:solidFill>
                  <a:schemeClr val="tx2">
                    <a:lumMod val="50000"/>
                  </a:schemeClr>
                </a:solidFill>
                <a:latin typeface="Euclid Flex RTL Bold" panose="020B0800030000000000" pitchFamily="34" charset="0"/>
              </a:rPr>
              <a:t>experience</a:t>
            </a:r>
            <a:endParaRPr lang="nl-NL" sz="3999" dirty="0">
              <a:solidFill>
                <a:schemeClr val="tx2">
                  <a:lumMod val="50000"/>
                </a:schemeClr>
              </a:solidFill>
              <a:latin typeface="Euclid Flex RTL Bold" panose="020B0800030000000000" pitchFamily="34" charset="0"/>
            </a:endParaRPr>
          </a:p>
        </p:txBody>
      </p:sp>
      <p:grpSp>
        <p:nvGrpSpPr>
          <p:cNvPr id="7" name="Groep 6">
            <a:extLst>
              <a:ext uri="{FF2B5EF4-FFF2-40B4-BE49-F238E27FC236}">
                <a16:creationId xmlns:a16="http://schemas.microsoft.com/office/drawing/2014/main" id="{F01EB0E4-7871-4C35-8EE5-B249C6563F52}"/>
              </a:ext>
            </a:extLst>
          </p:cNvPr>
          <p:cNvGrpSpPr/>
          <p:nvPr/>
        </p:nvGrpSpPr>
        <p:grpSpPr>
          <a:xfrm>
            <a:off x="5380" y="2384338"/>
            <a:ext cx="12184417" cy="1104500"/>
            <a:chOff x="5380" y="2384338"/>
            <a:chExt cx="12184417" cy="1104500"/>
          </a:xfrm>
        </p:grpSpPr>
        <p:sp>
          <p:nvSpPr>
            <p:cNvPr id="14" name="Rectangle 7"/>
            <p:cNvSpPr>
              <a:spLocks noChangeArrowheads="1"/>
            </p:cNvSpPr>
            <p:nvPr/>
          </p:nvSpPr>
          <p:spPr bwMode="auto">
            <a:xfrm>
              <a:off x="5380" y="2384338"/>
              <a:ext cx="12184417" cy="1104500"/>
            </a:xfrm>
            <a:prstGeom prst="rect">
              <a:avLst/>
            </a:prstGeom>
            <a:solidFill>
              <a:schemeClr val="accent1"/>
            </a:solidFill>
            <a:ln w="0">
              <a:noFill/>
              <a:prstDash val="solid"/>
              <a:miter lim="800000"/>
              <a:headEnd/>
              <a:tailEnd/>
            </a:ln>
            <a:effectLst>
              <a:innerShdw blurRad="279400" dist="139700">
                <a:prstClr val="black">
                  <a:alpha val="28000"/>
                </a:prstClr>
              </a:innerShdw>
            </a:effec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IN">
                <a:solidFill>
                  <a:prstClr val="black"/>
                </a:solidFill>
                <a:latin typeface="Euclid Flex RTL"/>
              </a:endParaRPr>
            </a:p>
          </p:txBody>
        </p:sp>
        <p:sp>
          <p:nvSpPr>
            <p:cNvPr id="11" name="Tekstvak 10">
              <a:extLst>
                <a:ext uri="{FF2B5EF4-FFF2-40B4-BE49-F238E27FC236}">
                  <a16:creationId xmlns:a16="http://schemas.microsoft.com/office/drawing/2014/main" id="{C84B2A26-3455-4E78-AA7D-32A0D958A384}"/>
                </a:ext>
              </a:extLst>
            </p:cNvPr>
            <p:cNvSpPr txBox="1"/>
            <p:nvPr/>
          </p:nvSpPr>
          <p:spPr>
            <a:xfrm>
              <a:off x="7630373" y="2613497"/>
              <a:ext cx="2834544" cy="6461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3599" b="1" dirty="0">
                  <a:solidFill>
                    <a:schemeClr val="bg1"/>
                  </a:solidFill>
                </a:rPr>
                <a:t>€8.99</a:t>
              </a:r>
              <a:r>
                <a:rPr lang="nl-NL" sz="2799" b="1" dirty="0">
                  <a:solidFill>
                    <a:schemeClr val="bg1"/>
                  </a:solidFill>
                </a:rPr>
                <a:t> </a:t>
              </a:r>
              <a:r>
                <a:rPr lang="nl-NL" sz="2000" b="1" dirty="0">
                  <a:solidFill>
                    <a:schemeClr val="bg1"/>
                  </a:solidFill>
                </a:rPr>
                <a:t>per </a:t>
              </a:r>
              <a:r>
                <a:rPr lang="nl-NL" sz="2000" b="1" dirty="0" err="1">
                  <a:solidFill>
                    <a:schemeClr val="bg1"/>
                  </a:solidFill>
                </a:rPr>
                <a:t>month</a:t>
              </a:r>
              <a:endParaRPr lang="nl-NL" sz="20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" name="Groep 7">
            <a:extLst>
              <a:ext uri="{FF2B5EF4-FFF2-40B4-BE49-F238E27FC236}">
                <a16:creationId xmlns:a16="http://schemas.microsoft.com/office/drawing/2014/main" id="{22FAB74A-761B-411B-9B2A-D498C7F15E2E}"/>
              </a:ext>
            </a:extLst>
          </p:cNvPr>
          <p:cNvGrpSpPr/>
          <p:nvPr/>
        </p:nvGrpSpPr>
        <p:grpSpPr>
          <a:xfrm>
            <a:off x="5380" y="3488838"/>
            <a:ext cx="12184418" cy="1125131"/>
            <a:chOff x="5380" y="3488838"/>
            <a:chExt cx="12184418" cy="1125131"/>
          </a:xfrm>
        </p:grpSpPr>
        <p:sp>
          <p:nvSpPr>
            <p:cNvPr id="15" name="Rectangle 8"/>
            <p:cNvSpPr>
              <a:spLocks noChangeArrowheads="1"/>
            </p:cNvSpPr>
            <p:nvPr/>
          </p:nvSpPr>
          <p:spPr bwMode="auto">
            <a:xfrm>
              <a:off x="5380" y="3488838"/>
              <a:ext cx="12184418" cy="1125131"/>
            </a:xfrm>
            <a:prstGeom prst="rect">
              <a:avLst/>
            </a:prstGeom>
            <a:solidFill>
              <a:schemeClr val="accent2"/>
            </a:solidFill>
            <a:ln w="0">
              <a:noFill/>
              <a:prstDash val="solid"/>
              <a:miter lim="800000"/>
              <a:headEnd/>
              <a:tailEnd/>
            </a:ln>
            <a:effectLst>
              <a:innerShdw blurRad="279400" dist="139700">
                <a:prstClr val="black">
                  <a:alpha val="28000"/>
                </a:prstClr>
              </a:innerShdw>
            </a:effec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IN">
                <a:solidFill>
                  <a:prstClr val="black"/>
                </a:solidFill>
                <a:latin typeface="Euclid Flex RTL"/>
              </a:endParaRPr>
            </a:p>
          </p:txBody>
        </p:sp>
        <p:sp>
          <p:nvSpPr>
            <p:cNvPr id="71" name="Tekstvak 70">
              <a:extLst>
                <a:ext uri="{FF2B5EF4-FFF2-40B4-BE49-F238E27FC236}">
                  <a16:creationId xmlns:a16="http://schemas.microsoft.com/office/drawing/2014/main" id="{443E9F92-8651-43F6-8E2D-9DA492D9F420}"/>
                </a:ext>
              </a:extLst>
            </p:cNvPr>
            <p:cNvSpPr txBox="1"/>
            <p:nvPr/>
          </p:nvSpPr>
          <p:spPr>
            <a:xfrm>
              <a:off x="7630373" y="3759083"/>
              <a:ext cx="3116351" cy="58464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3199" b="1" dirty="0">
                  <a:solidFill>
                    <a:schemeClr val="bg1"/>
                  </a:solidFill>
                </a:rPr>
                <a:t>No advertising</a:t>
              </a: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9B116307-B0B5-4D7A-820E-BF33421CBC6A}"/>
              </a:ext>
            </a:extLst>
          </p:cNvPr>
          <p:cNvGrpSpPr/>
          <p:nvPr/>
        </p:nvGrpSpPr>
        <p:grpSpPr>
          <a:xfrm>
            <a:off x="5380" y="4615555"/>
            <a:ext cx="12184418" cy="1137827"/>
            <a:chOff x="5380" y="4615555"/>
            <a:chExt cx="12184418" cy="1137827"/>
          </a:xfrm>
        </p:grpSpPr>
        <p:sp>
          <p:nvSpPr>
            <p:cNvPr id="20" name="Rectangle 9"/>
            <p:cNvSpPr>
              <a:spLocks noChangeArrowheads="1"/>
            </p:cNvSpPr>
            <p:nvPr/>
          </p:nvSpPr>
          <p:spPr bwMode="auto">
            <a:xfrm>
              <a:off x="5380" y="4615555"/>
              <a:ext cx="12184418" cy="1137827"/>
            </a:xfrm>
            <a:prstGeom prst="rect">
              <a:avLst/>
            </a:prstGeom>
            <a:solidFill>
              <a:schemeClr val="accent3"/>
            </a:solidFill>
            <a:ln w="0">
              <a:noFill/>
              <a:prstDash val="solid"/>
              <a:miter lim="800000"/>
              <a:headEnd/>
              <a:tailEnd/>
            </a:ln>
            <a:effectLst>
              <a:innerShdw blurRad="279400" dist="139700">
                <a:prstClr val="black">
                  <a:alpha val="28000"/>
                </a:prstClr>
              </a:innerShdw>
            </a:effectLst>
          </p:spPr>
          <p:txBody>
            <a:bodyPr vert="horz" wrap="square" lIns="91407" tIns="45703" rIns="91407" bIns="45703" numCol="1" anchor="t" anchorCtr="0" compatLnSpc="1">
              <a:prstTxWarp prst="textNoShape">
                <a:avLst/>
              </a:prstTxWarp>
            </a:bodyPr>
            <a:lstStyle/>
            <a:p>
              <a:pPr defTabSz="914126"/>
              <a:endParaRPr lang="en-IN" dirty="0">
                <a:solidFill>
                  <a:prstClr val="black"/>
                </a:solidFill>
                <a:latin typeface="Euclid Flex RTL"/>
              </a:endParaRPr>
            </a:p>
          </p:txBody>
        </p:sp>
        <p:sp>
          <p:nvSpPr>
            <p:cNvPr id="72" name="Tekstvak 71">
              <a:extLst>
                <a:ext uri="{FF2B5EF4-FFF2-40B4-BE49-F238E27FC236}">
                  <a16:creationId xmlns:a16="http://schemas.microsoft.com/office/drawing/2014/main" id="{8E0E7565-78E6-4866-B458-DAF07DF0C0E7}"/>
                </a:ext>
              </a:extLst>
            </p:cNvPr>
            <p:cNvSpPr txBox="1"/>
            <p:nvPr/>
          </p:nvSpPr>
          <p:spPr>
            <a:xfrm>
              <a:off x="7630373" y="4761074"/>
              <a:ext cx="3344570" cy="86164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3599" b="1" dirty="0">
                  <a:solidFill>
                    <a:schemeClr val="bg1"/>
                  </a:solidFill>
                </a:rPr>
                <a:t>750 Dutch </a:t>
              </a:r>
              <a:r>
                <a:rPr lang="nl-NL" sz="2400" b="1" dirty="0" err="1">
                  <a:solidFill>
                    <a:schemeClr val="bg1"/>
                  </a:solidFill>
                </a:rPr>
                <a:t>titles</a:t>
              </a:r>
              <a:endParaRPr lang="nl-NL" sz="2400" b="1" dirty="0">
                <a:solidFill>
                  <a:schemeClr val="bg1"/>
                </a:solidFill>
              </a:endParaRPr>
            </a:p>
            <a:p>
              <a:r>
                <a:rPr lang="nl-NL" sz="1400" b="1" dirty="0">
                  <a:solidFill>
                    <a:schemeClr val="bg1"/>
                  </a:solidFill>
                </a:rPr>
                <a:t>More </a:t>
              </a:r>
              <a:r>
                <a:rPr lang="nl-NL" sz="1400" b="1" dirty="0" err="1">
                  <a:solidFill>
                    <a:schemeClr val="bg1"/>
                  </a:solidFill>
                </a:rPr>
                <a:t>than</a:t>
              </a:r>
              <a:r>
                <a:rPr lang="nl-NL" sz="1400" b="1" dirty="0">
                  <a:solidFill>
                    <a:schemeClr val="bg1"/>
                  </a:solidFill>
                </a:rPr>
                <a:t> 1,000 </a:t>
              </a:r>
              <a:r>
                <a:rPr lang="nl-NL" sz="1400" b="1" dirty="0" err="1">
                  <a:solidFill>
                    <a:schemeClr val="bg1"/>
                  </a:solidFill>
                </a:rPr>
                <a:t>international</a:t>
              </a:r>
              <a:r>
                <a:rPr lang="nl-NL" sz="1400" b="1" dirty="0">
                  <a:solidFill>
                    <a:schemeClr val="bg1"/>
                  </a:solidFill>
                </a:rPr>
                <a:t> </a:t>
              </a:r>
              <a:r>
                <a:rPr lang="nl-NL" sz="1400" b="1" dirty="0" err="1">
                  <a:solidFill>
                    <a:schemeClr val="bg1"/>
                  </a:solidFill>
                </a:rPr>
                <a:t>titles</a:t>
              </a:r>
              <a:endParaRPr lang="nl-NL" sz="14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5D48BA98-823A-46B2-9CA4-813B5BD077E4}"/>
              </a:ext>
            </a:extLst>
          </p:cNvPr>
          <p:cNvGrpSpPr/>
          <p:nvPr/>
        </p:nvGrpSpPr>
        <p:grpSpPr>
          <a:xfrm>
            <a:off x="2202" y="1684048"/>
            <a:ext cx="7892248" cy="4669655"/>
            <a:chOff x="2202" y="1684048"/>
            <a:chExt cx="7892248" cy="4669655"/>
          </a:xfrm>
        </p:grpSpPr>
        <p:pic>
          <p:nvPicPr>
            <p:cNvPr id="13" name="Picture 12" descr="https://placeit.net/uploads/stage/glare_image/5020/default_a11409glare.png">
              <a:extLst>
                <a:ext uri="{FF2B5EF4-FFF2-40B4-BE49-F238E27FC236}">
                  <a16:creationId xmlns:a16="http://schemas.microsoft.com/office/drawing/2014/main" id="{7131E0B8-E07D-4235-B845-9E403EAE6BD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02" y="1684048"/>
              <a:ext cx="7892248" cy="46696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8" name="Afbeelding 67">
              <a:extLst>
                <a:ext uri="{FF2B5EF4-FFF2-40B4-BE49-F238E27FC236}">
                  <a16:creationId xmlns:a16="http://schemas.microsoft.com/office/drawing/2014/main" id="{33A9A95B-9AB7-48FA-A24B-A5427D02F5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/>
            <a:stretch/>
          </p:blipFill>
          <p:spPr>
            <a:xfrm>
              <a:off x="905347" y="2073244"/>
              <a:ext cx="6036991" cy="3765585"/>
            </a:xfrm>
            <a:prstGeom prst="rect">
              <a:avLst/>
            </a:prstGeom>
          </p:spPr>
        </p:pic>
      </p:grpSp>
      <p:pic>
        <p:nvPicPr>
          <p:cNvPr id="21" name="Afbeelding 20">
            <a:extLst>
              <a:ext uri="{FF2B5EF4-FFF2-40B4-BE49-F238E27FC236}">
                <a16:creationId xmlns:a16="http://schemas.microsoft.com/office/drawing/2014/main" id="{7F238D00-2C08-44FB-B4E7-94D77B9C67D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45114" y="6113317"/>
            <a:ext cx="744682" cy="7446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537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75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5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2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3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2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vak 1">
            <a:extLst>
              <a:ext uri="{FF2B5EF4-FFF2-40B4-BE49-F238E27FC236}">
                <a16:creationId xmlns:a16="http://schemas.microsoft.com/office/drawing/2014/main" id="{D0CACFDD-C4C2-455A-825A-10CE9FE8BD1C}"/>
              </a:ext>
            </a:extLst>
          </p:cNvPr>
          <p:cNvSpPr txBox="1"/>
          <p:nvPr/>
        </p:nvSpPr>
        <p:spPr>
          <a:xfrm>
            <a:off x="2403643" y="938480"/>
            <a:ext cx="7384714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80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Customer Care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198A541-2E5D-7A42-BBDB-C323D72158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037914" y="3147859"/>
            <a:ext cx="1425044" cy="1072345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E2C01EEA-9427-8842-846D-BE0DFC4EA05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5087" y="3147860"/>
            <a:ext cx="1425044" cy="1072345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142C7BF1-3190-CA48-85D2-48523DA3E2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81500" y="3147859"/>
            <a:ext cx="1425044" cy="1072345"/>
          </a:xfrm>
          <a:prstGeom prst="rect">
            <a:avLst/>
          </a:prstGeom>
        </p:spPr>
      </p:pic>
      <p:grpSp>
        <p:nvGrpSpPr>
          <p:cNvPr id="12" name="Groep 11">
            <a:extLst>
              <a:ext uri="{FF2B5EF4-FFF2-40B4-BE49-F238E27FC236}">
                <a16:creationId xmlns:a16="http://schemas.microsoft.com/office/drawing/2014/main" id="{5BE449DF-0999-8D43-BD05-E12400883A69}"/>
              </a:ext>
            </a:extLst>
          </p:cNvPr>
          <p:cNvGrpSpPr/>
          <p:nvPr/>
        </p:nvGrpSpPr>
        <p:grpSpPr>
          <a:xfrm>
            <a:off x="0" y="4420390"/>
            <a:ext cx="12188045" cy="2437609"/>
            <a:chOff x="0" y="4290758"/>
            <a:chExt cx="12836210" cy="2567242"/>
          </a:xfrm>
        </p:grpSpPr>
        <p:pic>
          <p:nvPicPr>
            <p:cNvPr id="4" name="Afbeelding 3" descr="Afbeelding met vectorafbeeldingen&#10;&#10;&#10;&#10;Automatisch gegenereerde beschrijving">
              <a:extLst>
                <a:ext uri="{FF2B5EF4-FFF2-40B4-BE49-F238E27FC236}">
                  <a16:creationId xmlns:a16="http://schemas.microsoft.com/office/drawing/2014/main" id="{268D2DD9-5656-574E-AAA2-B0064B91A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0" y="4290758"/>
              <a:ext cx="2567242" cy="2567242"/>
            </a:xfrm>
            <a:prstGeom prst="rect">
              <a:avLst/>
            </a:prstGeom>
          </p:spPr>
        </p:pic>
        <p:pic>
          <p:nvPicPr>
            <p:cNvPr id="8" name="Afbeelding 7" descr="Afbeelding met vectorafbeeldingen&#10;&#10;&#10;&#10;Automatisch gegenereerde beschrijving">
              <a:extLst>
                <a:ext uri="{FF2B5EF4-FFF2-40B4-BE49-F238E27FC236}">
                  <a16:creationId xmlns:a16="http://schemas.microsoft.com/office/drawing/2014/main" id="{0D40344A-1E31-AE47-8444-EFF7B026CA2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567242" y="4290758"/>
              <a:ext cx="2567242" cy="2567242"/>
            </a:xfrm>
            <a:prstGeom prst="rect">
              <a:avLst/>
            </a:prstGeom>
          </p:spPr>
        </p:pic>
        <p:pic>
          <p:nvPicPr>
            <p:cNvPr id="9" name="Afbeelding 8" descr="Afbeelding met vectorafbeeldingen&#10;&#10;&#10;&#10;Automatisch gegenereerde beschrijving">
              <a:extLst>
                <a:ext uri="{FF2B5EF4-FFF2-40B4-BE49-F238E27FC236}">
                  <a16:creationId xmlns:a16="http://schemas.microsoft.com/office/drawing/2014/main" id="{47FFF252-AFBC-0648-902B-A5A603D69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34484" y="4290758"/>
              <a:ext cx="2567242" cy="2567242"/>
            </a:xfrm>
            <a:prstGeom prst="rect">
              <a:avLst/>
            </a:prstGeom>
          </p:spPr>
        </p:pic>
        <p:pic>
          <p:nvPicPr>
            <p:cNvPr id="10" name="Afbeelding 9" descr="Afbeelding met vectorafbeeldingen&#10;&#10;&#10;&#10;Automatisch gegenereerde beschrijving">
              <a:extLst>
                <a:ext uri="{FF2B5EF4-FFF2-40B4-BE49-F238E27FC236}">
                  <a16:creationId xmlns:a16="http://schemas.microsoft.com/office/drawing/2014/main" id="{F5EC5DD3-5B82-6D42-BB59-923946F55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701726" y="4290758"/>
              <a:ext cx="2567242" cy="2567242"/>
            </a:xfrm>
            <a:prstGeom prst="rect">
              <a:avLst/>
            </a:prstGeom>
          </p:spPr>
        </p:pic>
        <p:pic>
          <p:nvPicPr>
            <p:cNvPr id="11" name="Afbeelding 10" descr="Afbeelding met vectorafbeeldingen&#10;&#10;&#10;&#10;Automatisch gegenereerde beschrijving">
              <a:extLst>
                <a:ext uri="{FF2B5EF4-FFF2-40B4-BE49-F238E27FC236}">
                  <a16:creationId xmlns:a16="http://schemas.microsoft.com/office/drawing/2014/main" id="{ECE7B7E0-F9DE-9B42-8C1B-1EE8C0526AE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0268968" y="4290758"/>
              <a:ext cx="2567242" cy="256724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249384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Afbeelding 8">
            <a:extLst>
              <a:ext uri="{FF2B5EF4-FFF2-40B4-BE49-F238E27FC236}">
                <a16:creationId xmlns:a16="http://schemas.microsoft.com/office/drawing/2014/main" id="{AC0967ED-E6BE-954C-851F-2DC672F5172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9271" y="867861"/>
            <a:ext cx="4024510" cy="974006"/>
          </a:xfrm>
          <a:prstGeom prst="rect">
            <a:avLst/>
          </a:prstGeom>
        </p:spPr>
      </p:pic>
      <p:pic>
        <p:nvPicPr>
          <p:cNvPr id="11" name="Afbeelding 10" descr="Afbeelding met tekst, teken, klok&#10;&#10;&#10;&#10;Automatisch gegenereerde beschrijving">
            <a:extLst>
              <a:ext uri="{FF2B5EF4-FFF2-40B4-BE49-F238E27FC236}">
                <a16:creationId xmlns:a16="http://schemas.microsoft.com/office/drawing/2014/main" id="{2B765F6D-4421-4847-8758-8D438F8096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37645" y="1024612"/>
            <a:ext cx="3115436" cy="1102820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2D49E391-E142-054D-AA47-98B1DE0B79A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59262" y="3499901"/>
            <a:ext cx="2222500" cy="787400"/>
          </a:xfrm>
          <a:prstGeom prst="rect">
            <a:avLst/>
          </a:prstGeom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0562CB6A-B096-954A-83C5-998CF3E5109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6208" b="36619"/>
          <a:stretch/>
        </p:blipFill>
        <p:spPr>
          <a:xfrm>
            <a:off x="2507252" y="5275890"/>
            <a:ext cx="4379917" cy="669445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1F5FEC65-1128-2E40-A4E2-133402B4A7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33520" y="3764823"/>
            <a:ext cx="1931491" cy="1931491"/>
          </a:xfrm>
          <a:prstGeom prst="rect">
            <a:avLst/>
          </a:prstGeom>
        </p:spPr>
      </p:pic>
      <p:pic>
        <p:nvPicPr>
          <p:cNvPr id="18" name="Afbeelding 17" descr="Afbeelding met illustratie&#10;&#10;&#10;&#10;Automatisch gegenereerde beschrijving">
            <a:extLst>
              <a:ext uri="{FF2B5EF4-FFF2-40B4-BE49-F238E27FC236}">
                <a16:creationId xmlns:a16="http://schemas.microsoft.com/office/drawing/2014/main" id="{627CABCC-B2F4-A64B-A6C6-3A3FD8CCD9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09606" y="2710477"/>
            <a:ext cx="5054434" cy="1437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03886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spd="slow">
        <p159:morph option="byObject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16B6B906-FF01-CF46-BE4B-92428F899DB3}"/>
              </a:ext>
            </a:extLst>
          </p:cNvPr>
          <p:cNvSpPr txBox="1"/>
          <p:nvPr/>
        </p:nvSpPr>
        <p:spPr>
          <a:xfrm>
            <a:off x="6464943" y="1418819"/>
            <a:ext cx="525656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72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Best service</a:t>
            </a:r>
          </a:p>
        </p:txBody>
      </p:sp>
      <p:sp>
        <p:nvSpPr>
          <p:cNvPr id="4" name="Tekstvak 3">
            <a:extLst>
              <a:ext uri="{FF2B5EF4-FFF2-40B4-BE49-F238E27FC236}">
                <a16:creationId xmlns:a16="http://schemas.microsoft.com/office/drawing/2014/main" id="{73B4DDE3-0B7C-6C49-8890-F993C9C25C51}"/>
              </a:ext>
            </a:extLst>
          </p:cNvPr>
          <p:cNvSpPr txBox="1"/>
          <p:nvPr/>
        </p:nvSpPr>
        <p:spPr>
          <a:xfrm>
            <a:off x="6481272" y="2517298"/>
            <a:ext cx="416607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4000" dirty="0">
                <a:solidFill>
                  <a:schemeClr val="bg1">
                    <a:alpha val="70000"/>
                  </a:schemeClr>
                </a:solidFill>
                <a:latin typeface="Euclid Flex RTL" panose="020B0500030000000000" pitchFamily="34" charset="77"/>
              </a:rPr>
              <a:t>Easy, </a:t>
            </a:r>
            <a:r>
              <a:rPr lang="nl-NL" sz="4000" dirty="0" err="1">
                <a:solidFill>
                  <a:schemeClr val="bg1">
                    <a:alpha val="70000"/>
                  </a:schemeClr>
                </a:solidFill>
                <a:latin typeface="Euclid Flex RTL" panose="020B0500030000000000" pitchFamily="34" charset="77"/>
              </a:rPr>
              <a:t>fast</a:t>
            </a:r>
            <a:r>
              <a:rPr lang="nl-NL" sz="4000" dirty="0">
                <a:solidFill>
                  <a:schemeClr val="bg1">
                    <a:alpha val="70000"/>
                  </a:schemeClr>
                </a:solidFill>
                <a:latin typeface="Euclid Flex RTL" panose="020B0500030000000000" pitchFamily="34" charset="77"/>
              </a:rPr>
              <a:t>, </a:t>
            </a:r>
            <a:r>
              <a:rPr lang="nl-NL" sz="4000" dirty="0" err="1">
                <a:solidFill>
                  <a:schemeClr val="bg1">
                    <a:alpha val="70000"/>
                  </a:schemeClr>
                </a:solidFill>
                <a:latin typeface="Euclid Flex RTL" panose="020B0500030000000000" pitchFamily="34" charset="77"/>
              </a:rPr>
              <a:t>simple</a:t>
            </a:r>
            <a:endParaRPr lang="nl-NL" sz="4000" dirty="0">
              <a:solidFill>
                <a:schemeClr val="bg1">
                  <a:alpha val="7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8D1CCA2-139D-8343-8815-EE93DD2E0FC1}"/>
              </a:ext>
            </a:extLst>
          </p:cNvPr>
          <p:cNvSpPr txBox="1"/>
          <p:nvPr/>
        </p:nvSpPr>
        <p:spPr>
          <a:xfrm>
            <a:off x="6481272" y="5390194"/>
            <a:ext cx="28536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sz="3600" b="1" dirty="0">
                <a:solidFill>
                  <a:schemeClr val="bg1"/>
                </a:solidFill>
                <a:latin typeface="Euclid Flex RTL Bold" panose="020B0800030000000000" pitchFamily="34" charset="0"/>
              </a:rPr>
              <a:t>Online focus</a:t>
            </a:r>
          </a:p>
        </p:txBody>
      </p:sp>
      <p:grpSp>
        <p:nvGrpSpPr>
          <p:cNvPr id="2" name="Groep 1">
            <a:extLst>
              <a:ext uri="{FF2B5EF4-FFF2-40B4-BE49-F238E27FC236}">
                <a16:creationId xmlns:a16="http://schemas.microsoft.com/office/drawing/2014/main" id="{51603E3B-7510-804C-BD42-3AFCA599B60A}"/>
              </a:ext>
            </a:extLst>
          </p:cNvPr>
          <p:cNvGrpSpPr/>
          <p:nvPr/>
        </p:nvGrpSpPr>
        <p:grpSpPr>
          <a:xfrm>
            <a:off x="6481272" y="3695543"/>
            <a:ext cx="3118161" cy="1166381"/>
            <a:chOff x="6481272" y="3695543"/>
            <a:chExt cx="3118161" cy="1166381"/>
          </a:xfrm>
        </p:grpSpPr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7409B9D3-A369-8743-BFBE-BB25AE229DBB}"/>
                </a:ext>
              </a:extLst>
            </p:cNvPr>
            <p:cNvSpPr txBox="1"/>
            <p:nvPr/>
          </p:nvSpPr>
          <p:spPr>
            <a:xfrm>
              <a:off x="6481272" y="3695543"/>
              <a:ext cx="311816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l-NL" sz="24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Dagelijks bereikbaar</a:t>
              </a:r>
            </a:p>
          </p:txBody>
        </p:sp>
        <p:sp>
          <p:nvSpPr>
            <p:cNvPr id="9" name="Afgeronde rechthoek 8">
              <a:extLst>
                <a:ext uri="{FF2B5EF4-FFF2-40B4-BE49-F238E27FC236}">
                  <a16:creationId xmlns:a16="http://schemas.microsoft.com/office/drawing/2014/main" id="{30A1CB71-547B-0143-AAE4-591D8EDB9B27}"/>
                </a:ext>
              </a:extLst>
            </p:cNvPr>
            <p:cNvSpPr/>
            <p:nvPr/>
          </p:nvSpPr>
          <p:spPr>
            <a:xfrm>
              <a:off x="6595572" y="4339992"/>
              <a:ext cx="2270842" cy="521932"/>
            </a:xfrm>
            <a:prstGeom prst="roundRect">
              <a:avLst>
                <a:gd name="adj" fmla="val 50000"/>
              </a:avLst>
            </a:prstGeom>
            <a:solidFill>
              <a:srgbClr val="4A90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l-NL" sz="2000" dirty="0">
                  <a:solidFill>
                    <a:schemeClr val="bg1"/>
                  </a:solidFill>
                  <a:latin typeface="Euclid Flex RTL" panose="020B0500030000000000" pitchFamily="34" charset="77"/>
                </a:rPr>
                <a:t>10:00 - 22:00</a:t>
              </a:r>
              <a:endParaRPr lang="nl-NL" sz="2000" dirty="0">
                <a:solidFill>
                  <a:schemeClr val="lt1">
                    <a:alpha val="90000"/>
                  </a:schemeClr>
                </a:solidFill>
                <a:latin typeface="Euclid Flex RTL" panose="020B0500030000000000" pitchFamily="34" charset="77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5571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500"/>
                            </p:stCondLst>
                            <p:childTnLst>
                              <p:par>
                                <p:cTn id="11" presetID="53" presetClass="entr" presetSubtype="16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708E8974-1A54-4F4E-BB92-84A222EEE2F5}"/>
              </a:ext>
            </a:extLst>
          </p:cNvPr>
          <p:cNvSpPr/>
          <p:nvPr/>
        </p:nvSpPr>
        <p:spPr>
          <a:xfrm>
            <a:off x="616958" y="705398"/>
            <a:ext cx="464688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7200" b="0" i="0" u="none" strike="noStrike" kern="0" cap="all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uclid Flex RTL Bold" charset="0"/>
              </a:rPr>
              <a:t>KPI’s</a:t>
            </a:r>
            <a:endParaRPr kumimoji="0" lang="nl-NL" sz="7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4" name="Afgeronde rechthoek 3">
            <a:extLst>
              <a:ext uri="{FF2B5EF4-FFF2-40B4-BE49-F238E27FC236}">
                <a16:creationId xmlns:a16="http://schemas.microsoft.com/office/drawing/2014/main" id="{2EEC9E12-1450-2D44-A881-B85586C86B5D}"/>
              </a:ext>
            </a:extLst>
          </p:cNvPr>
          <p:cNvSpPr/>
          <p:nvPr/>
        </p:nvSpPr>
        <p:spPr>
          <a:xfrm>
            <a:off x="616959" y="2514600"/>
            <a:ext cx="5479041" cy="914400"/>
          </a:xfrm>
          <a:prstGeom prst="roundRect">
            <a:avLst>
              <a:gd name="adj" fmla="val 50000"/>
            </a:avLst>
          </a:prstGeom>
          <a:solidFill>
            <a:srgbClr val="4A90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/>
                </a:solidFill>
                <a:latin typeface="Euclid Flex RTL" panose="020B0500030000000000" pitchFamily="34" charset="77"/>
              </a:rPr>
              <a:t>% Contacten</a:t>
            </a:r>
            <a:endParaRPr lang="nl-NL" sz="2800" dirty="0">
              <a:solidFill>
                <a:schemeClr val="lt1">
                  <a:alpha val="9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8" name="Afgeronde rechthoek 7">
            <a:extLst>
              <a:ext uri="{FF2B5EF4-FFF2-40B4-BE49-F238E27FC236}">
                <a16:creationId xmlns:a16="http://schemas.microsoft.com/office/drawing/2014/main" id="{82F2E41A-8AAE-4E4C-B4F4-3C8ABEDD0A6D}"/>
              </a:ext>
            </a:extLst>
          </p:cNvPr>
          <p:cNvSpPr/>
          <p:nvPr/>
        </p:nvSpPr>
        <p:spPr>
          <a:xfrm>
            <a:off x="616958" y="3685106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NPS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  <p:sp>
        <p:nvSpPr>
          <p:cNvPr id="9" name="Afgeronde rechthoek 8">
            <a:extLst>
              <a:ext uri="{FF2B5EF4-FFF2-40B4-BE49-F238E27FC236}">
                <a16:creationId xmlns:a16="http://schemas.microsoft.com/office/drawing/2014/main" id="{CD23D5A4-3F86-B64C-A0C6-D66E971B6F42}"/>
              </a:ext>
            </a:extLst>
          </p:cNvPr>
          <p:cNvSpPr/>
          <p:nvPr/>
        </p:nvSpPr>
        <p:spPr>
          <a:xfrm>
            <a:off x="616958" y="4855612"/>
            <a:ext cx="5479041" cy="914400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bg1">
                <a:alpha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dirty="0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Contact </a:t>
            </a:r>
            <a:r>
              <a:rPr lang="nl-NL" sz="2400" dirty="0" err="1">
                <a:solidFill>
                  <a:schemeClr val="bg1">
                    <a:alpha val="50000"/>
                  </a:schemeClr>
                </a:solidFill>
                <a:latin typeface="Euclid Flex RTL" panose="020B0500030000000000" pitchFamily="34" charset="77"/>
              </a:rPr>
              <a:t>SLA’s</a:t>
            </a:r>
            <a:endParaRPr lang="nl-NL" sz="2800" dirty="0">
              <a:solidFill>
                <a:schemeClr val="bg1">
                  <a:alpha val="50000"/>
                </a:schemeClr>
              </a:solidFill>
              <a:latin typeface="Euclid Flex RTL" panose="020B0500030000000000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70019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900">
        <p14:flythrough hasBounce="1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TUCvLTcSy_HU0My8b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TUCvLTcSy_HU0My8bF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TUCvLTcSy_HU0My8bF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TUCvLTcSy_HU0My8bFg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Kantoor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Kantoor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Kantoor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6686</TotalTime>
  <Words>154</Words>
  <Application>Microsoft Office PowerPoint</Application>
  <PresentationFormat>Breedbeeld</PresentationFormat>
  <Paragraphs>73</Paragraphs>
  <Slides>23</Slides>
  <Notes>20</Notes>
  <HiddenSlides>0</HiddenSlides>
  <MMClips>1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3</vt:i4>
      </vt:variant>
    </vt:vector>
  </HeadingPairs>
  <TitlesOfParts>
    <vt:vector size="31" baseType="lpstr">
      <vt:lpstr>Euclid Flex RTL</vt:lpstr>
      <vt:lpstr>Euclid Flex RTL Bold</vt:lpstr>
      <vt:lpstr>Arial</vt:lpstr>
      <vt:lpstr>Calibri Light</vt:lpstr>
      <vt:lpstr>Euclid Flex RTL Medium</vt:lpstr>
      <vt:lpstr>Calibri</vt:lpstr>
      <vt:lpstr>Kantoorthema</vt:lpstr>
      <vt:lpstr>think-cell Slid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subject/>
  <dc:creator>Jord te Brummelstroete</dc:creator>
  <cp:keywords/>
  <dc:description/>
  <cp:lastModifiedBy>Angela Muradin</cp:lastModifiedBy>
  <cp:revision>132</cp:revision>
  <dcterms:created xsi:type="dcterms:W3CDTF">2018-10-29T08:35:50Z</dcterms:created>
  <dcterms:modified xsi:type="dcterms:W3CDTF">2019-02-14T09:50:41Z</dcterms:modified>
  <cp:category/>
</cp:coreProperties>
</file>